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74" r:id="rId2"/>
    <p:sldMasterId id="2147483679" r:id="rId3"/>
    <p:sldMasterId id="2147483684" r:id="rId4"/>
    <p:sldMasterId id="2147483710" r:id="rId5"/>
  </p:sldMasterIdLst>
  <p:notesMasterIdLst>
    <p:notesMasterId r:id="rId23"/>
  </p:notesMasterIdLst>
  <p:sldIdLst>
    <p:sldId id="256" r:id="rId6"/>
    <p:sldId id="260" r:id="rId7"/>
    <p:sldId id="281" r:id="rId8"/>
    <p:sldId id="282" r:id="rId9"/>
    <p:sldId id="279" r:id="rId10"/>
    <p:sldId id="283" r:id="rId11"/>
    <p:sldId id="284" r:id="rId12"/>
    <p:sldId id="280" r:id="rId13"/>
    <p:sldId id="285" r:id="rId14"/>
    <p:sldId id="286" r:id="rId15"/>
    <p:sldId id="287" r:id="rId16"/>
    <p:sldId id="288" r:id="rId17"/>
    <p:sldId id="292" r:id="rId18"/>
    <p:sldId id="293" r:id="rId19"/>
    <p:sldId id="294" r:id="rId20"/>
    <p:sldId id="295" r:id="rId21"/>
    <p:sldId id="297" r:id="rId22"/>
  </p:sldIdLst>
  <p:sldSz cx="12192000" cy="6858000"/>
  <p:notesSz cx="6858000" cy="9144000"/>
  <p:custDataLst>
    <p:tags r:id="rId2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03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A96"/>
    <a:srgbClr val="009866"/>
    <a:srgbClr val="CC0000"/>
    <a:srgbClr val="94A3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287" autoAdjust="0"/>
    <p:restoredTop sz="90599" autoAdjust="0"/>
  </p:normalViewPr>
  <p:slideViewPr>
    <p:cSldViewPr snapToGrid="0">
      <p:cViewPr varScale="1">
        <p:scale>
          <a:sx n="121" d="100"/>
          <a:sy n="121" d="100"/>
        </p:scale>
        <p:origin x="496" y="168"/>
      </p:cViewPr>
      <p:guideLst>
        <p:guide orient="horz" pos="1003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gs" Target="tags/tag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theme" Target="theme/theme1.xml"/></Relationships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12" Type="http://schemas.openxmlformats.org/officeDocument/2006/relationships/image" Target="../media/image27.svg"/><Relationship Id="rId2" Type="http://schemas.openxmlformats.org/officeDocument/2006/relationships/image" Target="../media/image17.svg"/><Relationship Id="rId1" Type="http://schemas.openxmlformats.org/officeDocument/2006/relationships/image" Target="../media/image16.png"/><Relationship Id="rId6" Type="http://schemas.openxmlformats.org/officeDocument/2006/relationships/image" Target="../media/image21.svg"/><Relationship Id="rId11" Type="http://schemas.openxmlformats.org/officeDocument/2006/relationships/image" Target="../media/image26.png"/><Relationship Id="rId5" Type="http://schemas.openxmlformats.org/officeDocument/2006/relationships/image" Target="../media/image20.png"/><Relationship Id="rId10" Type="http://schemas.openxmlformats.org/officeDocument/2006/relationships/image" Target="../media/image25.svg"/><Relationship Id="rId4" Type="http://schemas.openxmlformats.org/officeDocument/2006/relationships/image" Target="../media/image19.svg"/><Relationship Id="rId9" Type="http://schemas.openxmlformats.org/officeDocument/2006/relationships/image" Target="../media/image24.png"/></Relationships>
</file>

<file path=ppt/diagrams/_rels/data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image" Target="../media/image29.svg"/><Relationship Id="rId1" Type="http://schemas.openxmlformats.org/officeDocument/2006/relationships/image" Target="../media/image28.png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31.svg"/></Relationships>
</file>

<file path=ppt/diagrams/_rels/data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image" Target="../media/image39.png"/><Relationship Id="rId7" Type="http://schemas.openxmlformats.org/officeDocument/2006/relationships/image" Target="../media/image43.svg"/><Relationship Id="rId2" Type="http://schemas.openxmlformats.org/officeDocument/2006/relationships/image" Target="../media/image38.svg"/><Relationship Id="rId1" Type="http://schemas.openxmlformats.org/officeDocument/2006/relationships/image" Target="../media/image37.png"/><Relationship Id="rId6" Type="http://schemas.openxmlformats.org/officeDocument/2006/relationships/image" Target="../media/image42.png"/><Relationship Id="rId11" Type="http://schemas.openxmlformats.org/officeDocument/2006/relationships/image" Target="../media/image47.svg"/><Relationship Id="rId5" Type="http://schemas.openxmlformats.org/officeDocument/2006/relationships/image" Target="../media/image41.svg"/><Relationship Id="rId10" Type="http://schemas.openxmlformats.org/officeDocument/2006/relationships/image" Target="../media/image46.png"/><Relationship Id="rId4" Type="http://schemas.openxmlformats.org/officeDocument/2006/relationships/image" Target="../media/image40.png"/><Relationship Id="rId9" Type="http://schemas.openxmlformats.org/officeDocument/2006/relationships/image" Target="../media/image45.svg"/></Relationships>
</file>

<file path=ppt/diagrams/_rels/data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svg"/><Relationship Id="rId1" Type="http://schemas.openxmlformats.org/officeDocument/2006/relationships/image" Target="../media/image50.png"/><Relationship Id="rId6" Type="http://schemas.openxmlformats.org/officeDocument/2006/relationships/image" Target="../media/image55.svg"/><Relationship Id="rId5" Type="http://schemas.openxmlformats.org/officeDocument/2006/relationships/image" Target="../media/image54.png"/><Relationship Id="rId4" Type="http://schemas.openxmlformats.org/officeDocument/2006/relationships/image" Target="../media/image53.sv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12" Type="http://schemas.openxmlformats.org/officeDocument/2006/relationships/image" Target="../media/image27.svg"/><Relationship Id="rId2" Type="http://schemas.openxmlformats.org/officeDocument/2006/relationships/image" Target="../media/image17.svg"/><Relationship Id="rId1" Type="http://schemas.openxmlformats.org/officeDocument/2006/relationships/image" Target="../media/image16.png"/><Relationship Id="rId6" Type="http://schemas.openxmlformats.org/officeDocument/2006/relationships/image" Target="../media/image21.svg"/><Relationship Id="rId11" Type="http://schemas.openxmlformats.org/officeDocument/2006/relationships/image" Target="../media/image26.png"/><Relationship Id="rId5" Type="http://schemas.openxmlformats.org/officeDocument/2006/relationships/image" Target="../media/image20.png"/><Relationship Id="rId10" Type="http://schemas.openxmlformats.org/officeDocument/2006/relationships/image" Target="../media/image25.svg"/><Relationship Id="rId4" Type="http://schemas.openxmlformats.org/officeDocument/2006/relationships/image" Target="../media/image19.svg"/><Relationship Id="rId9" Type="http://schemas.openxmlformats.org/officeDocument/2006/relationships/image" Target="../media/image24.png"/></Relationships>
</file>

<file path=ppt/diagrams/_rels/drawing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image" Target="../media/image29.svg"/><Relationship Id="rId1" Type="http://schemas.openxmlformats.org/officeDocument/2006/relationships/image" Target="../media/image28.png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31.svg"/></Relationships>
</file>

<file path=ppt/diagrams/_rels/drawing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image" Target="../media/image39.png"/><Relationship Id="rId7" Type="http://schemas.openxmlformats.org/officeDocument/2006/relationships/image" Target="../media/image43.svg"/><Relationship Id="rId2" Type="http://schemas.openxmlformats.org/officeDocument/2006/relationships/image" Target="../media/image38.svg"/><Relationship Id="rId1" Type="http://schemas.openxmlformats.org/officeDocument/2006/relationships/image" Target="../media/image37.png"/><Relationship Id="rId6" Type="http://schemas.openxmlformats.org/officeDocument/2006/relationships/image" Target="../media/image42.png"/><Relationship Id="rId11" Type="http://schemas.openxmlformats.org/officeDocument/2006/relationships/image" Target="../media/image47.svg"/><Relationship Id="rId5" Type="http://schemas.openxmlformats.org/officeDocument/2006/relationships/image" Target="../media/image41.svg"/><Relationship Id="rId10" Type="http://schemas.openxmlformats.org/officeDocument/2006/relationships/image" Target="../media/image46.png"/><Relationship Id="rId4" Type="http://schemas.openxmlformats.org/officeDocument/2006/relationships/image" Target="../media/image40.png"/><Relationship Id="rId9" Type="http://schemas.openxmlformats.org/officeDocument/2006/relationships/image" Target="../media/image45.svg"/></Relationships>
</file>

<file path=ppt/diagrams/_rels/drawing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svg"/><Relationship Id="rId1" Type="http://schemas.openxmlformats.org/officeDocument/2006/relationships/image" Target="../media/image50.png"/><Relationship Id="rId6" Type="http://schemas.openxmlformats.org/officeDocument/2006/relationships/image" Target="../media/image55.svg"/><Relationship Id="rId5" Type="http://schemas.openxmlformats.org/officeDocument/2006/relationships/image" Target="../media/image54.png"/><Relationship Id="rId4" Type="http://schemas.openxmlformats.org/officeDocument/2006/relationships/image" Target="../media/image53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EAB9FFC-EA1E-481F-B81E-381B5ECACC56}" type="doc">
      <dgm:prSet loTypeId="urn:microsoft.com/office/officeart/2018/2/layout/IconCircleList" loCatId="icon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en-US"/>
        </a:p>
      </dgm:t>
    </dgm:pt>
    <dgm:pt modelId="{35867251-6871-4991-B2BE-3F013090053D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Reduces measurement errors.</a:t>
          </a:r>
        </a:p>
      </dgm:t>
    </dgm:pt>
    <dgm:pt modelId="{839A2A8E-89ED-4F14-8976-009A0CE3EAB2}" type="parTrans" cxnId="{48A28D33-3AF7-4F68-9C8C-1B99D965CFC6}">
      <dgm:prSet/>
      <dgm:spPr/>
      <dgm:t>
        <a:bodyPr/>
        <a:lstStyle/>
        <a:p>
          <a:endParaRPr lang="en-US"/>
        </a:p>
      </dgm:t>
    </dgm:pt>
    <dgm:pt modelId="{60643670-B990-451A-A04A-E62C5728A91E}" type="sibTrans" cxnId="{48A28D33-3AF7-4F68-9C8C-1B99D965CFC6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FEDCA7A1-A86F-4823-97BA-4579E2984A16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Enhances system dependability.</a:t>
          </a:r>
        </a:p>
      </dgm:t>
    </dgm:pt>
    <dgm:pt modelId="{862F4EB9-A200-401D-B170-81E359129D77}" type="parTrans" cxnId="{03EC6E2A-0D9F-4975-AE97-38C001CFD956}">
      <dgm:prSet/>
      <dgm:spPr/>
      <dgm:t>
        <a:bodyPr/>
        <a:lstStyle/>
        <a:p>
          <a:endParaRPr lang="en-US"/>
        </a:p>
      </dgm:t>
    </dgm:pt>
    <dgm:pt modelId="{1CCF2ADB-ABB6-4DF1-AA38-59B5CD0B2961}" type="sibTrans" cxnId="{03EC6E2A-0D9F-4975-AE97-38C001CFD956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B53C75CA-56FD-419B-9D5F-EA84FB0BFCDC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Provides robust solutions in dynamic environments.</a:t>
          </a:r>
        </a:p>
      </dgm:t>
    </dgm:pt>
    <dgm:pt modelId="{71DCD44C-33D3-420D-89CD-5266006A0749}" type="parTrans" cxnId="{5C8F1E83-5950-481A-903F-37FD34A0B65E}">
      <dgm:prSet/>
      <dgm:spPr/>
      <dgm:t>
        <a:bodyPr/>
        <a:lstStyle/>
        <a:p>
          <a:endParaRPr lang="en-US"/>
        </a:p>
      </dgm:t>
    </dgm:pt>
    <dgm:pt modelId="{3CEA3ECC-E715-4FE7-BB3E-BE173F2BBF1B}" type="sibTrans" cxnId="{5C8F1E83-5950-481A-903F-37FD34A0B65E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1DFB931B-F799-43F5-BEF5-F8BD3120CC0F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Human activity recognition</a:t>
          </a:r>
        </a:p>
      </dgm:t>
    </dgm:pt>
    <dgm:pt modelId="{ED40B835-2D4A-4841-9020-CF228C7DC8D3}" type="parTrans" cxnId="{AA9B245C-C063-4277-8BDB-752001B2F587}">
      <dgm:prSet/>
      <dgm:spPr/>
      <dgm:t>
        <a:bodyPr/>
        <a:lstStyle/>
        <a:p>
          <a:endParaRPr lang="en-US"/>
        </a:p>
      </dgm:t>
    </dgm:pt>
    <dgm:pt modelId="{2477CF41-CE3F-48D7-8FAC-534CF85AAF1D}" type="sibTrans" cxnId="{AA9B245C-C063-4277-8BDB-752001B2F587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2995C1B5-F860-446A-810A-122C2623612C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Power optimization in wireless sensor networks</a:t>
          </a:r>
        </a:p>
      </dgm:t>
    </dgm:pt>
    <dgm:pt modelId="{5AE831E2-6858-405D-97B9-0A95642E1111}" type="parTrans" cxnId="{88F5D244-2031-4E97-905F-64667A4D99BF}">
      <dgm:prSet/>
      <dgm:spPr/>
      <dgm:t>
        <a:bodyPr/>
        <a:lstStyle/>
        <a:p>
          <a:endParaRPr lang="en-US"/>
        </a:p>
      </dgm:t>
    </dgm:pt>
    <dgm:pt modelId="{503DF195-D45C-4E7F-ACAA-76F24CD7FB4C}" type="sibTrans" cxnId="{88F5D244-2031-4E97-905F-64667A4D99BF}">
      <dgm:prSet/>
      <dgm:spPr/>
      <dgm:t>
        <a:bodyPr/>
        <a:lstStyle/>
        <a:p>
          <a:endParaRPr lang="en-US"/>
        </a:p>
      </dgm:t>
    </dgm:pt>
    <dgm:pt modelId="{CAFBDFAC-04EF-E14D-B67D-3C4FAAA41345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Obstacle detection</a:t>
          </a:r>
        </a:p>
      </dgm:t>
    </dgm:pt>
    <dgm:pt modelId="{B8E2D1C8-7E78-3C4A-BB6A-BCC7F4D83E4F}" type="parTrans" cxnId="{A3E0822C-7D34-2F40-8081-039913AB23AB}">
      <dgm:prSet/>
      <dgm:spPr/>
      <dgm:t>
        <a:bodyPr/>
        <a:lstStyle/>
        <a:p>
          <a:endParaRPr lang="en-US"/>
        </a:p>
      </dgm:t>
    </dgm:pt>
    <dgm:pt modelId="{F91FB09E-A57A-E643-A3C2-6B67F21A279A}" type="sibTrans" cxnId="{A3E0822C-7D34-2F40-8081-039913AB23AB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73B72996-E0D4-4CA4-95D6-4FDC71BD178F}" type="pres">
      <dgm:prSet presAssocID="{FEAB9FFC-EA1E-481F-B81E-381B5ECACC56}" presName="root" presStyleCnt="0">
        <dgm:presLayoutVars>
          <dgm:dir/>
          <dgm:resizeHandles val="exact"/>
        </dgm:presLayoutVars>
      </dgm:prSet>
      <dgm:spPr/>
    </dgm:pt>
    <dgm:pt modelId="{4BEE168B-3FF5-47D5-9EA5-B26EFEE394CD}" type="pres">
      <dgm:prSet presAssocID="{FEAB9FFC-EA1E-481F-B81E-381B5ECACC56}" presName="container" presStyleCnt="0">
        <dgm:presLayoutVars>
          <dgm:dir/>
          <dgm:resizeHandles val="exact"/>
        </dgm:presLayoutVars>
      </dgm:prSet>
      <dgm:spPr/>
    </dgm:pt>
    <dgm:pt modelId="{BB7BF315-2894-4D2A-B7A8-1B105524E277}" type="pres">
      <dgm:prSet presAssocID="{35867251-6871-4991-B2BE-3F013090053D}" presName="compNode" presStyleCnt="0"/>
      <dgm:spPr/>
    </dgm:pt>
    <dgm:pt modelId="{8E862367-0EB7-44EF-AB37-F9223A5ACCB9}" type="pres">
      <dgm:prSet presAssocID="{35867251-6871-4991-B2BE-3F013090053D}" presName="iconBgRect" presStyleLbl="bgShp" presStyleIdx="0" presStyleCnt="6"/>
      <dgm:spPr/>
    </dgm:pt>
    <dgm:pt modelId="{B5AFEC22-2AE9-407B-AE9A-5B6E82722BA4}" type="pres">
      <dgm:prSet presAssocID="{35867251-6871-4991-B2BE-3F013090053D}" presName="iconRect" presStyleLbl="node1" presStyleIdx="0" presStyleCnt="6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Downward trend"/>
        </a:ext>
      </dgm:extLst>
    </dgm:pt>
    <dgm:pt modelId="{17C86BAC-6134-49A9-BB9E-0686DA960277}" type="pres">
      <dgm:prSet presAssocID="{35867251-6871-4991-B2BE-3F013090053D}" presName="spaceRect" presStyleCnt="0"/>
      <dgm:spPr/>
    </dgm:pt>
    <dgm:pt modelId="{7654227E-4417-461C-BC7F-F72D94D84168}" type="pres">
      <dgm:prSet presAssocID="{35867251-6871-4991-B2BE-3F013090053D}" presName="textRect" presStyleLbl="revTx" presStyleIdx="0" presStyleCnt="6">
        <dgm:presLayoutVars>
          <dgm:chMax val="1"/>
          <dgm:chPref val="1"/>
        </dgm:presLayoutVars>
      </dgm:prSet>
      <dgm:spPr/>
    </dgm:pt>
    <dgm:pt modelId="{698AA640-E241-4CD8-8214-F748B7778588}" type="pres">
      <dgm:prSet presAssocID="{60643670-B990-451A-A04A-E62C5728A91E}" presName="sibTrans" presStyleLbl="sibTrans2D1" presStyleIdx="0" presStyleCnt="0"/>
      <dgm:spPr/>
    </dgm:pt>
    <dgm:pt modelId="{1C088BE9-951C-48F2-A0B5-2223F0D9A47B}" type="pres">
      <dgm:prSet presAssocID="{FEDCA7A1-A86F-4823-97BA-4579E2984A16}" presName="compNode" presStyleCnt="0"/>
      <dgm:spPr/>
    </dgm:pt>
    <dgm:pt modelId="{5F69CCE0-FC62-4F87-89C6-8931691A524E}" type="pres">
      <dgm:prSet presAssocID="{FEDCA7A1-A86F-4823-97BA-4579E2984A16}" presName="iconBgRect" presStyleLbl="bgShp" presStyleIdx="1" presStyleCnt="6"/>
      <dgm:spPr/>
    </dgm:pt>
    <dgm:pt modelId="{83E345F7-6237-4307-BCFF-ACA484C1C32A}" type="pres">
      <dgm:prSet presAssocID="{FEDCA7A1-A86F-4823-97BA-4579E2984A16}" presName="iconRect" presStyleLbl="node1" presStyleIdx="1" presStyleCnt="6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Gears"/>
        </a:ext>
      </dgm:extLst>
    </dgm:pt>
    <dgm:pt modelId="{98C91FEC-08E6-4F39-AD80-65F5E890AC6B}" type="pres">
      <dgm:prSet presAssocID="{FEDCA7A1-A86F-4823-97BA-4579E2984A16}" presName="spaceRect" presStyleCnt="0"/>
      <dgm:spPr/>
    </dgm:pt>
    <dgm:pt modelId="{F4DF94E4-2FD5-49BD-B6DE-0F6467707868}" type="pres">
      <dgm:prSet presAssocID="{FEDCA7A1-A86F-4823-97BA-4579E2984A16}" presName="textRect" presStyleLbl="revTx" presStyleIdx="1" presStyleCnt="6">
        <dgm:presLayoutVars>
          <dgm:chMax val="1"/>
          <dgm:chPref val="1"/>
        </dgm:presLayoutVars>
      </dgm:prSet>
      <dgm:spPr/>
    </dgm:pt>
    <dgm:pt modelId="{B95D4328-6A8E-40C5-AFF8-07BE84CD45A1}" type="pres">
      <dgm:prSet presAssocID="{1CCF2ADB-ABB6-4DF1-AA38-59B5CD0B2961}" presName="sibTrans" presStyleLbl="sibTrans2D1" presStyleIdx="0" presStyleCnt="0"/>
      <dgm:spPr/>
    </dgm:pt>
    <dgm:pt modelId="{85F772E1-51F9-4156-9CF5-13135DA11715}" type="pres">
      <dgm:prSet presAssocID="{B53C75CA-56FD-419B-9D5F-EA84FB0BFCDC}" presName="compNode" presStyleCnt="0"/>
      <dgm:spPr/>
    </dgm:pt>
    <dgm:pt modelId="{8741E94B-6428-4756-B283-684F35183DD9}" type="pres">
      <dgm:prSet presAssocID="{B53C75CA-56FD-419B-9D5F-EA84FB0BFCDC}" presName="iconBgRect" presStyleLbl="bgShp" presStyleIdx="2" presStyleCnt="6"/>
      <dgm:spPr/>
    </dgm:pt>
    <dgm:pt modelId="{363ACB5D-5C7F-4D2E-B19C-B8E1E5CA5D0D}" type="pres">
      <dgm:prSet presAssocID="{B53C75CA-56FD-419B-9D5F-EA84FB0BFCDC}" presName="iconRect" presStyleLbl="node1" presStyleIdx="2" presStyleCnt="6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Server"/>
        </a:ext>
      </dgm:extLst>
    </dgm:pt>
    <dgm:pt modelId="{98030259-CA2E-423C-AA5D-20CFE49E0D1F}" type="pres">
      <dgm:prSet presAssocID="{B53C75CA-56FD-419B-9D5F-EA84FB0BFCDC}" presName="spaceRect" presStyleCnt="0"/>
      <dgm:spPr/>
    </dgm:pt>
    <dgm:pt modelId="{070FA927-A00E-456F-8618-27463DFE56C3}" type="pres">
      <dgm:prSet presAssocID="{B53C75CA-56FD-419B-9D5F-EA84FB0BFCDC}" presName="textRect" presStyleLbl="revTx" presStyleIdx="2" presStyleCnt="6">
        <dgm:presLayoutVars>
          <dgm:chMax val="1"/>
          <dgm:chPref val="1"/>
        </dgm:presLayoutVars>
      </dgm:prSet>
      <dgm:spPr/>
    </dgm:pt>
    <dgm:pt modelId="{F6D72637-05D3-4901-8963-D8E5EBE69BCF}" type="pres">
      <dgm:prSet presAssocID="{3CEA3ECC-E715-4FE7-BB3E-BE173F2BBF1B}" presName="sibTrans" presStyleLbl="sibTrans2D1" presStyleIdx="0" presStyleCnt="0"/>
      <dgm:spPr/>
    </dgm:pt>
    <dgm:pt modelId="{7C34E721-B2C4-4DA8-A226-1064E5ADFF15}" type="pres">
      <dgm:prSet presAssocID="{CAFBDFAC-04EF-E14D-B67D-3C4FAAA41345}" presName="compNode" presStyleCnt="0"/>
      <dgm:spPr/>
    </dgm:pt>
    <dgm:pt modelId="{DD430E7D-85C9-4112-B11E-2A5CAFAD6977}" type="pres">
      <dgm:prSet presAssocID="{CAFBDFAC-04EF-E14D-B67D-3C4FAAA41345}" presName="iconBgRect" presStyleLbl="bgShp" presStyleIdx="3" presStyleCnt="6"/>
      <dgm:spPr/>
    </dgm:pt>
    <dgm:pt modelId="{DA5F4B11-A710-41FE-B130-36AF345D45C0}" type="pres">
      <dgm:prSet presAssocID="{CAFBDFAC-04EF-E14D-B67D-3C4FAAA41345}" presName="iconRect" presStyleLbl="node1" presStyleIdx="3" presStyleCnt="6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Warning"/>
        </a:ext>
      </dgm:extLst>
    </dgm:pt>
    <dgm:pt modelId="{DD2A58B3-DD17-4AE9-A0A4-6AC45E0709EC}" type="pres">
      <dgm:prSet presAssocID="{CAFBDFAC-04EF-E14D-B67D-3C4FAAA41345}" presName="spaceRect" presStyleCnt="0"/>
      <dgm:spPr/>
    </dgm:pt>
    <dgm:pt modelId="{6A480AA1-E5D7-4634-9327-D7AA0C0D6F03}" type="pres">
      <dgm:prSet presAssocID="{CAFBDFAC-04EF-E14D-B67D-3C4FAAA41345}" presName="textRect" presStyleLbl="revTx" presStyleIdx="3" presStyleCnt="6">
        <dgm:presLayoutVars>
          <dgm:chMax val="1"/>
          <dgm:chPref val="1"/>
        </dgm:presLayoutVars>
      </dgm:prSet>
      <dgm:spPr/>
    </dgm:pt>
    <dgm:pt modelId="{E28B228C-DA90-40A7-95FE-F05CA30D4506}" type="pres">
      <dgm:prSet presAssocID="{F91FB09E-A57A-E643-A3C2-6B67F21A279A}" presName="sibTrans" presStyleLbl="sibTrans2D1" presStyleIdx="0" presStyleCnt="0"/>
      <dgm:spPr/>
    </dgm:pt>
    <dgm:pt modelId="{3E80897C-1D7B-417C-B3CD-6990309E5B0F}" type="pres">
      <dgm:prSet presAssocID="{1DFB931B-F799-43F5-BEF5-F8BD3120CC0F}" presName="compNode" presStyleCnt="0"/>
      <dgm:spPr/>
    </dgm:pt>
    <dgm:pt modelId="{FB49EE28-8D68-4C61-8271-2EE2CD43AB30}" type="pres">
      <dgm:prSet presAssocID="{1DFB931B-F799-43F5-BEF5-F8BD3120CC0F}" presName="iconBgRect" presStyleLbl="bgShp" presStyleIdx="4" presStyleCnt="6"/>
      <dgm:spPr/>
    </dgm:pt>
    <dgm:pt modelId="{ABF9835A-EFDD-4918-B06C-D5865C2C6724}" type="pres">
      <dgm:prSet presAssocID="{1DFB931B-F799-43F5-BEF5-F8BD3120CC0F}" presName="iconRect" presStyleLbl="node1" presStyleIdx="4" presStyleCnt="6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Head with Gears"/>
        </a:ext>
      </dgm:extLst>
    </dgm:pt>
    <dgm:pt modelId="{777D237C-62D9-4D2C-9C37-098E4954F9AC}" type="pres">
      <dgm:prSet presAssocID="{1DFB931B-F799-43F5-BEF5-F8BD3120CC0F}" presName="spaceRect" presStyleCnt="0"/>
      <dgm:spPr/>
    </dgm:pt>
    <dgm:pt modelId="{DE1AC140-F20F-43BD-842A-35F37EE405A9}" type="pres">
      <dgm:prSet presAssocID="{1DFB931B-F799-43F5-BEF5-F8BD3120CC0F}" presName="textRect" presStyleLbl="revTx" presStyleIdx="4" presStyleCnt="6">
        <dgm:presLayoutVars>
          <dgm:chMax val="1"/>
          <dgm:chPref val="1"/>
        </dgm:presLayoutVars>
      </dgm:prSet>
      <dgm:spPr/>
    </dgm:pt>
    <dgm:pt modelId="{E11BC095-A1E5-4FE8-AE8F-92503220C2CB}" type="pres">
      <dgm:prSet presAssocID="{2477CF41-CE3F-48D7-8FAC-534CF85AAF1D}" presName="sibTrans" presStyleLbl="sibTrans2D1" presStyleIdx="0" presStyleCnt="0"/>
      <dgm:spPr/>
    </dgm:pt>
    <dgm:pt modelId="{F134EDEE-5E44-4C0E-A0D7-A050CDB03C4C}" type="pres">
      <dgm:prSet presAssocID="{2995C1B5-F860-446A-810A-122C2623612C}" presName="compNode" presStyleCnt="0"/>
      <dgm:spPr/>
    </dgm:pt>
    <dgm:pt modelId="{83FD8B3B-E672-4AFD-B95F-1052E7E8B3B2}" type="pres">
      <dgm:prSet presAssocID="{2995C1B5-F860-446A-810A-122C2623612C}" presName="iconBgRect" presStyleLbl="bgShp" presStyleIdx="5" presStyleCnt="6"/>
      <dgm:spPr/>
    </dgm:pt>
    <dgm:pt modelId="{8302CB87-AB07-4DAA-82F8-BD6186DC88EB}" type="pres">
      <dgm:prSet presAssocID="{2995C1B5-F860-446A-810A-122C2623612C}" presName="iconRect" presStyleLbl="node1" presStyleIdx="5" presStyleCnt="6"/>
      <dgm:spPr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Wi-Fi"/>
        </a:ext>
      </dgm:extLst>
    </dgm:pt>
    <dgm:pt modelId="{20F47B27-D578-4D5B-851E-18C54F93B0E6}" type="pres">
      <dgm:prSet presAssocID="{2995C1B5-F860-446A-810A-122C2623612C}" presName="spaceRect" presStyleCnt="0"/>
      <dgm:spPr/>
    </dgm:pt>
    <dgm:pt modelId="{64BE5415-8EAA-419C-8745-195D5A3B1A79}" type="pres">
      <dgm:prSet presAssocID="{2995C1B5-F860-446A-810A-122C2623612C}" presName="textRect" presStyleLbl="revTx" presStyleIdx="5" presStyleCnt="6">
        <dgm:presLayoutVars>
          <dgm:chMax val="1"/>
          <dgm:chPref val="1"/>
        </dgm:presLayoutVars>
      </dgm:prSet>
      <dgm:spPr/>
    </dgm:pt>
  </dgm:ptLst>
  <dgm:cxnLst>
    <dgm:cxn modelId="{8075EF0E-7290-B647-B6E8-A372D6D21878}" type="presOf" srcId="{F91FB09E-A57A-E643-A3C2-6B67F21A279A}" destId="{E28B228C-DA90-40A7-95FE-F05CA30D4506}" srcOrd="0" destOrd="0" presId="urn:microsoft.com/office/officeart/2018/2/layout/IconCircleList"/>
    <dgm:cxn modelId="{5E6C0214-02A3-2E4D-867C-270BD62E9A4A}" type="presOf" srcId="{CAFBDFAC-04EF-E14D-B67D-3C4FAAA41345}" destId="{6A480AA1-E5D7-4634-9327-D7AA0C0D6F03}" srcOrd="0" destOrd="0" presId="urn:microsoft.com/office/officeart/2018/2/layout/IconCircleList"/>
    <dgm:cxn modelId="{6123D727-97EF-2245-8591-1FC57EBAF7A7}" type="presOf" srcId="{3CEA3ECC-E715-4FE7-BB3E-BE173F2BBF1B}" destId="{F6D72637-05D3-4901-8963-D8E5EBE69BCF}" srcOrd="0" destOrd="0" presId="urn:microsoft.com/office/officeart/2018/2/layout/IconCircleList"/>
    <dgm:cxn modelId="{03EC6E2A-0D9F-4975-AE97-38C001CFD956}" srcId="{FEAB9FFC-EA1E-481F-B81E-381B5ECACC56}" destId="{FEDCA7A1-A86F-4823-97BA-4579E2984A16}" srcOrd="1" destOrd="0" parTransId="{862F4EB9-A200-401D-B170-81E359129D77}" sibTransId="{1CCF2ADB-ABB6-4DF1-AA38-59B5CD0B2961}"/>
    <dgm:cxn modelId="{D5A4FD2B-FA33-1B48-AC9F-200B433920BB}" type="presOf" srcId="{FEAB9FFC-EA1E-481F-B81E-381B5ECACC56}" destId="{73B72996-E0D4-4CA4-95D6-4FDC71BD178F}" srcOrd="0" destOrd="0" presId="urn:microsoft.com/office/officeart/2018/2/layout/IconCircleList"/>
    <dgm:cxn modelId="{A3E0822C-7D34-2F40-8081-039913AB23AB}" srcId="{FEAB9FFC-EA1E-481F-B81E-381B5ECACC56}" destId="{CAFBDFAC-04EF-E14D-B67D-3C4FAAA41345}" srcOrd="3" destOrd="0" parTransId="{B8E2D1C8-7E78-3C4A-BB6A-BCC7F4D83E4F}" sibTransId="{F91FB09E-A57A-E643-A3C2-6B67F21A279A}"/>
    <dgm:cxn modelId="{48A28D33-3AF7-4F68-9C8C-1B99D965CFC6}" srcId="{FEAB9FFC-EA1E-481F-B81E-381B5ECACC56}" destId="{35867251-6871-4991-B2BE-3F013090053D}" srcOrd="0" destOrd="0" parTransId="{839A2A8E-89ED-4F14-8976-009A0CE3EAB2}" sibTransId="{60643670-B990-451A-A04A-E62C5728A91E}"/>
    <dgm:cxn modelId="{88F5D244-2031-4E97-905F-64667A4D99BF}" srcId="{FEAB9FFC-EA1E-481F-B81E-381B5ECACC56}" destId="{2995C1B5-F860-446A-810A-122C2623612C}" srcOrd="5" destOrd="0" parTransId="{5AE831E2-6858-405D-97B9-0A95642E1111}" sibTransId="{503DF195-D45C-4E7F-ACAA-76F24CD7FB4C}"/>
    <dgm:cxn modelId="{B0E57046-D62A-DE47-95AE-39A972EA14A9}" type="presOf" srcId="{60643670-B990-451A-A04A-E62C5728A91E}" destId="{698AA640-E241-4CD8-8214-F748B7778588}" srcOrd="0" destOrd="0" presId="urn:microsoft.com/office/officeart/2018/2/layout/IconCircleList"/>
    <dgm:cxn modelId="{AA9B245C-C063-4277-8BDB-752001B2F587}" srcId="{FEAB9FFC-EA1E-481F-B81E-381B5ECACC56}" destId="{1DFB931B-F799-43F5-BEF5-F8BD3120CC0F}" srcOrd="4" destOrd="0" parTransId="{ED40B835-2D4A-4841-9020-CF228C7DC8D3}" sibTransId="{2477CF41-CE3F-48D7-8FAC-534CF85AAF1D}"/>
    <dgm:cxn modelId="{EEEBFD70-FF04-7848-97CA-FEC85FB9715A}" type="presOf" srcId="{2477CF41-CE3F-48D7-8FAC-534CF85AAF1D}" destId="{E11BC095-A1E5-4FE8-AE8F-92503220C2CB}" srcOrd="0" destOrd="0" presId="urn:microsoft.com/office/officeart/2018/2/layout/IconCircleList"/>
    <dgm:cxn modelId="{5C8F1E83-5950-481A-903F-37FD34A0B65E}" srcId="{FEAB9FFC-EA1E-481F-B81E-381B5ECACC56}" destId="{B53C75CA-56FD-419B-9D5F-EA84FB0BFCDC}" srcOrd="2" destOrd="0" parTransId="{71DCD44C-33D3-420D-89CD-5266006A0749}" sibTransId="{3CEA3ECC-E715-4FE7-BB3E-BE173F2BBF1B}"/>
    <dgm:cxn modelId="{AFDD0587-FFB4-694B-A6D0-260630A25430}" type="presOf" srcId="{2995C1B5-F860-446A-810A-122C2623612C}" destId="{64BE5415-8EAA-419C-8745-195D5A3B1A79}" srcOrd="0" destOrd="0" presId="urn:microsoft.com/office/officeart/2018/2/layout/IconCircleList"/>
    <dgm:cxn modelId="{468E459A-8F6D-B34E-9579-0687B57C26BA}" type="presOf" srcId="{1CCF2ADB-ABB6-4DF1-AA38-59B5CD0B2961}" destId="{B95D4328-6A8E-40C5-AFF8-07BE84CD45A1}" srcOrd="0" destOrd="0" presId="urn:microsoft.com/office/officeart/2018/2/layout/IconCircleList"/>
    <dgm:cxn modelId="{FECCE6A7-4627-FC4A-BF7C-F69AE9917B19}" type="presOf" srcId="{FEDCA7A1-A86F-4823-97BA-4579E2984A16}" destId="{F4DF94E4-2FD5-49BD-B6DE-0F6467707868}" srcOrd="0" destOrd="0" presId="urn:microsoft.com/office/officeart/2018/2/layout/IconCircleList"/>
    <dgm:cxn modelId="{12F8FFAB-02C2-FF40-A5BD-A60E78F31663}" type="presOf" srcId="{B53C75CA-56FD-419B-9D5F-EA84FB0BFCDC}" destId="{070FA927-A00E-456F-8618-27463DFE56C3}" srcOrd="0" destOrd="0" presId="urn:microsoft.com/office/officeart/2018/2/layout/IconCircleList"/>
    <dgm:cxn modelId="{0BB9A6CF-2F51-DB49-8478-50316172C1AE}" type="presOf" srcId="{35867251-6871-4991-B2BE-3F013090053D}" destId="{7654227E-4417-461C-BC7F-F72D94D84168}" srcOrd="0" destOrd="0" presId="urn:microsoft.com/office/officeart/2018/2/layout/IconCircleList"/>
    <dgm:cxn modelId="{F04E7BFD-9F2C-D94C-910E-35DD3BE8125B}" type="presOf" srcId="{1DFB931B-F799-43F5-BEF5-F8BD3120CC0F}" destId="{DE1AC140-F20F-43BD-842A-35F37EE405A9}" srcOrd="0" destOrd="0" presId="urn:microsoft.com/office/officeart/2018/2/layout/IconCircleList"/>
    <dgm:cxn modelId="{1AF9EBC5-89EB-614C-8D7A-264825C89F92}" type="presParOf" srcId="{73B72996-E0D4-4CA4-95D6-4FDC71BD178F}" destId="{4BEE168B-3FF5-47D5-9EA5-B26EFEE394CD}" srcOrd="0" destOrd="0" presId="urn:microsoft.com/office/officeart/2018/2/layout/IconCircleList"/>
    <dgm:cxn modelId="{C5717FF4-4CC1-5E42-B96B-9EA0B12DE4E6}" type="presParOf" srcId="{4BEE168B-3FF5-47D5-9EA5-B26EFEE394CD}" destId="{BB7BF315-2894-4D2A-B7A8-1B105524E277}" srcOrd="0" destOrd="0" presId="urn:microsoft.com/office/officeart/2018/2/layout/IconCircleList"/>
    <dgm:cxn modelId="{E81341B3-698D-964F-99BF-D0E59CDC7566}" type="presParOf" srcId="{BB7BF315-2894-4D2A-B7A8-1B105524E277}" destId="{8E862367-0EB7-44EF-AB37-F9223A5ACCB9}" srcOrd="0" destOrd="0" presId="urn:microsoft.com/office/officeart/2018/2/layout/IconCircleList"/>
    <dgm:cxn modelId="{2EBD5930-3CD3-B54D-AD2C-E552BD0AD132}" type="presParOf" srcId="{BB7BF315-2894-4D2A-B7A8-1B105524E277}" destId="{B5AFEC22-2AE9-407B-AE9A-5B6E82722BA4}" srcOrd="1" destOrd="0" presId="urn:microsoft.com/office/officeart/2018/2/layout/IconCircleList"/>
    <dgm:cxn modelId="{87935096-216D-D44A-9C0C-A33C600CEC62}" type="presParOf" srcId="{BB7BF315-2894-4D2A-B7A8-1B105524E277}" destId="{17C86BAC-6134-49A9-BB9E-0686DA960277}" srcOrd="2" destOrd="0" presId="urn:microsoft.com/office/officeart/2018/2/layout/IconCircleList"/>
    <dgm:cxn modelId="{26328E54-904D-AE49-89BB-19CBE94005AB}" type="presParOf" srcId="{BB7BF315-2894-4D2A-B7A8-1B105524E277}" destId="{7654227E-4417-461C-BC7F-F72D94D84168}" srcOrd="3" destOrd="0" presId="urn:microsoft.com/office/officeart/2018/2/layout/IconCircleList"/>
    <dgm:cxn modelId="{F4DA2563-34C4-CE47-BE18-16264F95AE20}" type="presParOf" srcId="{4BEE168B-3FF5-47D5-9EA5-B26EFEE394CD}" destId="{698AA640-E241-4CD8-8214-F748B7778588}" srcOrd="1" destOrd="0" presId="urn:microsoft.com/office/officeart/2018/2/layout/IconCircleList"/>
    <dgm:cxn modelId="{56564AD3-52A8-9E49-AE05-D13298BDD76B}" type="presParOf" srcId="{4BEE168B-3FF5-47D5-9EA5-B26EFEE394CD}" destId="{1C088BE9-951C-48F2-A0B5-2223F0D9A47B}" srcOrd="2" destOrd="0" presId="urn:microsoft.com/office/officeart/2018/2/layout/IconCircleList"/>
    <dgm:cxn modelId="{11E7C7F6-8680-2747-B208-CCFE32B53ECD}" type="presParOf" srcId="{1C088BE9-951C-48F2-A0B5-2223F0D9A47B}" destId="{5F69CCE0-FC62-4F87-89C6-8931691A524E}" srcOrd="0" destOrd="0" presId="urn:microsoft.com/office/officeart/2018/2/layout/IconCircleList"/>
    <dgm:cxn modelId="{474A2D92-8A0F-8145-8D34-C3DDC8B373DB}" type="presParOf" srcId="{1C088BE9-951C-48F2-A0B5-2223F0D9A47B}" destId="{83E345F7-6237-4307-BCFF-ACA484C1C32A}" srcOrd="1" destOrd="0" presId="urn:microsoft.com/office/officeart/2018/2/layout/IconCircleList"/>
    <dgm:cxn modelId="{1D31FCFE-CEB6-A440-A3F3-2D3484FBA964}" type="presParOf" srcId="{1C088BE9-951C-48F2-A0B5-2223F0D9A47B}" destId="{98C91FEC-08E6-4F39-AD80-65F5E890AC6B}" srcOrd="2" destOrd="0" presId="urn:microsoft.com/office/officeart/2018/2/layout/IconCircleList"/>
    <dgm:cxn modelId="{0D7FB641-7519-D849-AFC5-7A723C85A755}" type="presParOf" srcId="{1C088BE9-951C-48F2-A0B5-2223F0D9A47B}" destId="{F4DF94E4-2FD5-49BD-B6DE-0F6467707868}" srcOrd="3" destOrd="0" presId="urn:microsoft.com/office/officeart/2018/2/layout/IconCircleList"/>
    <dgm:cxn modelId="{00595DA1-810F-FF41-B18F-01698766DC8A}" type="presParOf" srcId="{4BEE168B-3FF5-47D5-9EA5-B26EFEE394CD}" destId="{B95D4328-6A8E-40C5-AFF8-07BE84CD45A1}" srcOrd="3" destOrd="0" presId="urn:microsoft.com/office/officeart/2018/2/layout/IconCircleList"/>
    <dgm:cxn modelId="{FB04F2EB-4FDE-F949-92AA-D006E99F506B}" type="presParOf" srcId="{4BEE168B-3FF5-47D5-9EA5-B26EFEE394CD}" destId="{85F772E1-51F9-4156-9CF5-13135DA11715}" srcOrd="4" destOrd="0" presId="urn:microsoft.com/office/officeart/2018/2/layout/IconCircleList"/>
    <dgm:cxn modelId="{1F27B4F1-E82C-2B4B-BCAC-5A8E91291182}" type="presParOf" srcId="{85F772E1-51F9-4156-9CF5-13135DA11715}" destId="{8741E94B-6428-4756-B283-684F35183DD9}" srcOrd="0" destOrd="0" presId="urn:microsoft.com/office/officeart/2018/2/layout/IconCircleList"/>
    <dgm:cxn modelId="{52A0A14B-C90B-5C4F-BBFF-1E037163D41E}" type="presParOf" srcId="{85F772E1-51F9-4156-9CF5-13135DA11715}" destId="{363ACB5D-5C7F-4D2E-B19C-B8E1E5CA5D0D}" srcOrd="1" destOrd="0" presId="urn:microsoft.com/office/officeart/2018/2/layout/IconCircleList"/>
    <dgm:cxn modelId="{260F0AE2-BA18-624C-A40B-E345F894F569}" type="presParOf" srcId="{85F772E1-51F9-4156-9CF5-13135DA11715}" destId="{98030259-CA2E-423C-AA5D-20CFE49E0D1F}" srcOrd="2" destOrd="0" presId="urn:microsoft.com/office/officeart/2018/2/layout/IconCircleList"/>
    <dgm:cxn modelId="{F17D7642-BE9C-474E-8BC6-8B17AFADF5E7}" type="presParOf" srcId="{85F772E1-51F9-4156-9CF5-13135DA11715}" destId="{070FA927-A00E-456F-8618-27463DFE56C3}" srcOrd="3" destOrd="0" presId="urn:microsoft.com/office/officeart/2018/2/layout/IconCircleList"/>
    <dgm:cxn modelId="{EC05199E-37FA-DD4D-9354-18070AFE0751}" type="presParOf" srcId="{4BEE168B-3FF5-47D5-9EA5-B26EFEE394CD}" destId="{F6D72637-05D3-4901-8963-D8E5EBE69BCF}" srcOrd="5" destOrd="0" presId="urn:microsoft.com/office/officeart/2018/2/layout/IconCircleList"/>
    <dgm:cxn modelId="{4C5DE3F7-A354-A24D-977C-B0A64497DDDA}" type="presParOf" srcId="{4BEE168B-3FF5-47D5-9EA5-B26EFEE394CD}" destId="{7C34E721-B2C4-4DA8-A226-1064E5ADFF15}" srcOrd="6" destOrd="0" presId="urn:microsoft.com/office/officeart/2018/2/layout/IconCircleList"/>
    <dgm:cxn modelId="{81F5F1A7-74E4-5346-B1AD-C34F6C2904F5}" type="presParOf" srcId="{7C34E721-B2C4-4DA8-A226-1064E5ADFF15}" destId="{DD430E7D-85C9-4112-B11E-2A5CAFAD6977}" srcOrd="0" destOrd="0" presId="urn:microsoft.com/office/officeart/2018/2/layout/IconCircleList"/>
    <dgm:cxn modelId="{F71B9958-EB25-4943-8684-226FDF674CFE}" type="presParOf" srcId="{7C34E721-B2C4-4DA8-A226-1064E5ADFF15}" destId="{DA5F4B11-A710-41FE-B130-36AF345D45C0}" srcOrd="1" destOrd="0" presId="urn:microsoft.com/office/officeart/2018/2/layout/IconCircleList"/>
    <dgm:cxn modelId="{C8ED1E58-0344-5B42-BD52-1C9ECE0C787C}" type="presParOf" srcId="{7C34E721-B2C4-4DA8-A226-1064E5ADFF15}" destId="{DD2A58B3-DD17-4AE9-A0A4-6AC45E0709EC}" srcOrd="2" destOrd="0" presId="urn:microsoft.com/office/officeart/2018/2/layout/IconCircleList"/>
    <dgm:cxn modelId="{812FA709-5E69-3441-981F-D1B1B796E454}" type="presParOf" srcId="{7C34E721-B2C4-4DA8-A226-1064E5ADFF15}" destId="{6A480AA1-E5D7-4634-9327-D7AA0C0D6F03}" srcOrd="3" destOrd="0" presId="urn:microsoft.com/office/officeart/2018/2/layout/IconCircleList"/>
    <dgm:cxn modelId="{B9FF1763-857B-6D42-B841-85BAFCF90659}" type="presParOf" srcId="{4BEE168B-3FF5-47D5-9EA5-B26EFEE394CD}" destId="{E28B228C-DA90-40A7-95FE-F05CA30D4506}" srcOrd="7" destOrd="0" presId="urn:microsoft.com/office/officeart/2018/2/layout/IconCircleList"/>
    <dgm:cxn modelId="{8ACD799E-464B-6448-9CBA-2BC2EC729BAF}" type="presParOf" srcId="{4BEE168B-3FF5-47D5-9EA5-B26EFEE394CD}" destId="{3E80897C-1D7B-417C-B3CD-6990309E5B0F}" srcOrd="8" destOrd="0" presId="urn:microsoft.com/office/officeart/2018/2/layout/IconCircleList"/>
    <dgm:cxn modelId="{A1258184-66D1-9B4D-8A38-8E8BECDFA219}" type="presParOf" srcId="{3E80897C-1D7B-417C-B3CD-6990309E5B0F}" destId="{FB49EE28-8D68-4C61-8271-2EE2CD43AB30}" srcOrd="0" destOrd="0" presId="urn:microsoft.com/office/officeart/2018/2/layout/IconCircleList"/>
    <dgm:cxn modelId="{7BC642FB-A7F3-4843-82F3-E1D4FFA73306}" type="presParOf" srcId="{3E80897C-1D7B-417C-B3CD-6990309E5B0F}" destId="{ABF9835A-EFDD-4918-B06C-D5865C2C6724}" srcOrd="1" destOrd="0" presId="urn:microsoft.com/office/officeart/2018/2/layout/IconCircleList"/>
    <dgm:cxn modelId="{C340DCBC-6F20-0E45-B3FB-5A513BBB60F5}" type="presParOf" srcId="{3E80897C-1D7B-417C-B3CD-6990309E5B0F}" destId="{777D237C-62D9-4D2C-9C37-098E4954F9AC}" srcOrd="2" destOrd="0" presId="urn:microsoft.com/office/officeart/2018/2/layout/IconCircleList"/>
    <dgm:cxn modelId="{17DBB03B-59CC-EE49-9761-C0A9610BE727}" type="presParOf" srcId="{3E80897C-1D7B-417C-B3CD-6990309E5B0F}" destId="{DE1AC140-F20F-43BD-842A-35F37EE405A9}" srcOrd="3" destOrd="0" presId="urn:microsoft.com/office/officeart/2018/2/layout/IconCircleList"/>
    <dgm:cxn modelId="{A503476D-123C-E442-80EB-8A923106B54F}" type="presParOf" srcId="{4BEE168B-3FF5-47D5-9EA5-B26EFEE394CD}" destId="{E11BC095-A1E5-4FE8-AE8F-92503220C2CB}" srcOrd="9" destOrd="0" presId="urn:microsoft.com/office/officeart/2018/2/layout/IconCircleList"/>
    <dgm:cxn modelId="{A58A0B67-35A7-AC4C-A69F-4CA7868AAFE5}" type="presParOf" srcId="{4BEE168B-3FF5-47D5-9EA5-B26EFEE394CD}" destId="{F134EDEE-5E44-4C0E-A0D7-A050CDB03C4C}" srcOrd="10" destOrd="0" presId="urn:microsoft.com/office/officeart/2018/2/layout/IconCircleList"/>
    <dgm:cxn modelId="{3F270AE4-2F78-E54C-A204-7837AE5F177E}" type="presParOf" srcId="{F134EDEE-5E44-4C0E-A0D7-A050CDB03C4C}" destId="{83FD8B3B-E672-4AFD-B95F-1052E7E8B3B2}" srcOrd="0" destOrd="0" presId="urn:microsoft.com/office/officeart/2018/2/layout/IconCircleList"/>
    <dgm:cxn modelId="{2315A6C0-0E5C-E74B-AC73-2B1D68010DD5}" type="presParOf" srcId="{F134EDEE-5E44-4C0E-A0D7-A050CDB03C4C}" destId="{8302CB87-AB07-4DAA-82F8-BD6186DC88EB}" srcOrd="1" destOrd="0" presId="urn:microsoft.com/office/officeart/2018/2/layout/IconCircleList"/>
    <dgm:cxn modelId="{8F1DF484-809F-834F-89BE-768E3144ED7F}" type="presParOf" srcId="{F134EDEE-5E44-4C0E-A0D7-A050CDB03C4C}" destId="{20F47B27-D578-4D5B-851E-18C54F93B0E6}" srcOrd="2" destOrd="0" presId="urn:microsoft.com/office/officeart/2018/2/layout/IconCircleList"/>
    <dgm:cxn modelId="{AFDB83C7-D166-B64A-B21A-6240944270F0}" type="presParOf" srcId="{F134EDEE-5E44-4C0E-A0D7-A050CDB03C4C}" destId="{64BE5415-8EAA-419C-8745-195D5A3B1A79}" srcOrd="3" destOrd="0" presId="urn:microsoft.com/office/officeart/2018/2/layout/IconCircle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E0B68EB-3659-45FC-9F99-F83ED2C349D3}" type="doc">
      <dgm:prSet loTypeId="urn:microsoft.com/office/officeart/2005/8/layout/arrow5" loCatId="relationship" qsTypeId="urn:microsoft.com/office/officeart/2005/8/quickstyle/simple2" qsCatId="simple" csTypeId="urn:microsoft.com/office/officeart/2005/8/colors/accent3_2" csCatId="accent3"/>
      <dgm:spPr/>
      <dgm:t>
        <a:bodyPr/>
        <a:lstStyle/>
        <a:p>
          <a:endParaRPr lang="en-US"/>
        </a:p>
      </dgm:t>
    </dgm:pt>
    <dgm:pt modelId="{F3BB0D8A-0757-4175-9A7C-F751718DC898}">
      <dgm:prSet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Data-Level Fusion</a:t>
          </a:r>
        </a:p>
      </dgm:t>
    </dgm:pt>
    <dgm:pt modelId="{9C254C91-B0F8-4718-9F08-08F0AD301ABF}" type="parTrans" cxnId="{E3734609-019A-4460-BA70-D47CE5B420F4}">
      <dgm:prSet/>
      <dgm:spPr/>
      <dgm:t>
        <a:bodyPr/>
        <a:lstStyle/>
        <a:p>
          <a:endParaRPr lang="en-US"/>
        </a:p>
      </dgm:t>
    </dgm:pt>
    <dgm:pt modelId="{2FDCC886-6A9B-4BBC-B19C-4E9CFB1CD303}" type="sibTrans" cxnId="{E3734609-019A-4460-BA70-D47CE5B420F4}">
      <dgm:prSet/>
      <dgm:spPr/>
      <dgm:t>
        <a:bodyPr/>
        <a:lstStyle/>
        <a:p>
          <a:endParaRPr lang="en-US"/>
        </a:p>
      </dgm:t>
    </dgm:pt>
    <dgm:pt modelId="{75C38E2C-0E7E-4BCC-987D-D4751637C9B8}">
      <dgm:prSet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Feature-Level Fusion</a:t>
          </a:r>
        </a:p>
      </dgm:t>
    </dgm:pt>
    <dgm:pt modelId="{9CB1B4EE-1A4F-41E8-ABFC-652D9F1E5A75}" type="parTrans" cxnId="{296B571B-3127-4E25-87D6-F5E6F033F65C}">
      <dgm:prSet/>
      <dgm:spPr/>
      <dgm:t>
        <a:bodyPr/>
        <a:lstStyle/>
        <a:p>
          <a:endParaRPr lang="en-US"/>
        </a:p>
      </dgm:t>
    </dgm:pt>
    <dgm:pt modelId="{A84BECB8-9165-47B0-8D70-1BBC195D968B}" type="sibTrans" cxnId="{296B571B-3127-4E25-87D6-F5E6F033F65C}">
      <dgm:prSet/>
      <dgm:spPr/>
      <dgm:t>
        <a:bodyPr/>
        <a:lstStyle/>
        <a:p>
          <a:endParaRPr lang="en-US"/>
        </a:p>
      </dgm:t>
    </dgm:pt>
    <dgm:pt modelId="{CCD74445-C611-4335-8098-ED13AD2367FA}">
      <dgm:prSet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Decision-Level Fusion</a:t>
          </a:r>
        </a:p>
      </dgm:t>
    </dgm:pt>
    <dgm:pt modelId="{9AFC5911-10E8-44D1-ADE0-3D51CAB5C4FD}" type="parTrans" cxnId="{3DA4A154-429F-454B-9230-6ADF656255B4}">
      <dgm:prSet/>
      <dgm:spPr/>
      <dgm:t>
        <a:bodyPr/>
        <a:lstStyle/>
        <a:p>
          <a:endParaRPr lang="en-US"/>
        </a:p>
      </dgm:t>
    </dgm:pt>
    <dgm:pt modelId="{89388BAE-8F4A-45F1-B7C9-21FDB6BB1146}" type="sibTrans" cxnId="{3DA4A154-429F-454B-9230-6ADF656255B4}">
      <dgm:prSet/>
      <dgm:spPr/>
      <dgm:t>
        <a:bodyPr/>
        <a:lstStyle/>
        <a:p>
          <a:endParaRPr lang="en-US"/>
        </a:p>
      </dgm:t>
    </dgm:pt>
    <dgm:pt modelId="{3404B2CC-00F7-4C9C-8BE3-C78EFDD44519}">
      <dgm:prSet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State Estimation and Kalman Filtering</a:t>
          </a:r>
        </a:p>
      </dgm:t>
    </dgm:pt>
    <dgm:pt modelId="{9C225109-6D62-47F0-A859-29D4A599490F}" type="parTrans" cxnId="{DBDDA8F8-1EFD-45F7-9916-A230CD93752E}">
      <dgm:prSet/>
      <dgm:spPr/>
      <dgm:t>
        <a:bodyPr/>
        <a:lstStyle/>
        <a:p>
          <a:endParaRPr lang="en-US"/>
        </a:p>
      </dgm:t>
    </dgm:pt>
    <dgm:pt modelId="{61791763-F3B1-47AB-9207-72A8159F4A6B}" type="sibTrans" cxnId="{DBDDA8F8-1EFD-45F7-9916-A230CD93752E}">
      <dgm:prSet/>
      <dgm:spPr/>
      <dgm:t>
        <a:bodyPr/>
        <a:lstStyle/>
        <a:p>
          <a:endParaRPr lang="en-US"/>
        </a:p>
      </dgm:t>
    </dgm:pt>
    <dgm:pt modelId="{CA6DC6F9-2333-4BCB-AC31-ECE5F21304FB}">
      <dgm:prSet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Bayesian Approaches</a:t>
          </a:r>
        </a:p>
      </dgm:t>
    </dgm:pt>
    <dgm:pt modelId="{B85D9098-D9E3-4545-9F80-6B3A8F195594}" type="parTrans" cxnId="{FBB11BD3-48AD-464D-A382-F43972F910A7}">
      <dgm:prSet/>
      <dgm:spPr/>
      <dgm:t>
        <a:bodyPr/>
        <a:lstStyle/>
        <a:p>
          <a:endParaRPr lang="en-US"/>
        </a:p>
      </dgm:t>
    </dgm:pt>
    <dgm:pt modelId="{1EFD0279-78A8-4F3A-A87F-B7A53EC1DFC5}" type="sibTrans" cxnId="{FBB11BD3-48AD-464D-A382-F43972F910A7}">
      <dgm:prSet/>
      <dgm:spPr/>
      <dgm:t>
        <a:bodyPr/>
        <a:lstStyle/>
        <a:p>
          <a:endParaRPr lang="en-US"/>
        </a:p>
      </dgm:t>
    </dgm:pt>
    <dgm:pt modelId="{21ED839F-B435-4609-8BF6-ED9A286D7CEA}">
      <dgm:prSet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Fuzzy Logic</a:t>
          </a:r>
        </a:p>
      </dgm:t>
    </dgm:pt>
    <dgm:pt modelId="{5B02333E-6EB3-4FB2-8954-C90337B0CFA3}" type="parTrans" cxnId="{34F7F0C2-D7D9-48DE-9FE3-72C807162367}">
      <dgm:prSet/>
      <dgm:spPr/>
      <dgm:t>
        <a:bodyPr/>
        <a:lstStyle/>
        <a:p>
          <a:endParaRPr lang="en-US"/>
        </a:p>
      </dgm:t>
    </dgm:pt>
    <dgm:pt modelId="{BF821FA8-8893-4F11-BC46-A02438A83B9C}" type="sibTrans" cxnId="{34F7F0C2-D7D9-48DE-9FE3-72C807162367}">
      <dgm:prSet/>
      <dgm:spPr/>
      <dgm:t>
        <a:bodyPr/>
        <a:lstStyle/>
        <a:p>
          <a:endParaRPr lang="en-US"/>
        </a:p>
      </dgm:t>
    </dgm:pt>
    <dgm:pt modelId="{ED1F7AC0-F51E-4862-BE5C-383CAD50CFC8}">
      <dgm:prSet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Machine Learning Based Fusion</a:t>
          </a:r>
        </a:p>
      </dgm:t>
    </dgm:pt>
    <dgm:pt modelId="{63877794-4C43-4563-BC56-31AE470B8D8D}" type="parTrans" cxnId="{D533A245-7D72-423B-9825-BFBA978FA77B}">
      <dgm:prSet/>
      <dgm:spPr/>
      <dgm:t>
        <a:bodyPr/>
        <a:lstStyle/>
        <a:p>
          <a:endParaRPr lang="en-US"/>
        </a:p>
      </dgm:t>
    </dgm:pt>
    <dgm:pt modelId="{D7BE999E-DCD6-4630-898F-C5F7802B3953}" type="sibTrans" cxnId="{D533A245-7D72-423B-9825-BFBA978FA77B}">
      <dgm:prSet/>
      <dgm:spPr/>
      <dgm:t>
        <a:bodyPr/>
        <a:lstStyle/>
        <a:p>
          <a:endParaRPr lang="en-US"/>
        </a:p>
      </dgm:t>
    </dgm:pt>
    <dgm:pt modelId="{978F20DB-4287-A541-B2E8-0503286FE62A}" type="pres">
      <dgm:prSet presAssocID="{2E0B68EB-3659-45FC-9F99-F83ED2C349D3}" presName="diagram" presStyleCnt="0">
        <dgm:presLayoutVars>
          <dgm:dir/>
          <dgm:resizeHandles val="exact"/>
        </dgm:presLayoutVars>
      </dgm:prSet>
      <dgm:spPr/>
    </dgm:pt>
    <dgm:pt modelId="{4E40635F-A712-FA40-9895-1CAF1AFF39EF}" type="pres">
      <dgm:prSet presAssocID="{F3BB0D8A-0757-4175-9A7C-F751718DC898}" presName="arrow" presStyleLbl="node1" presStyleIdx="0" presStyleCnt="7">
        <dgm:presLayoutVars>
          <dgm:bulletEnabled val="1"/>
        </dgm:presLayoutVars>
      </dgm:prSet>
      <dgm:spPr/>
    </dgm:pt>
    <dgm:pt modelId="{D7F4FF65-DEEF-C74A-93F8-52B74E944D65}" type="pres">
      <dgm:prSet presAssocID="{75C38E2C-0E7E-4BCC-987D-D4751637C9B8}" presName="arrow" presStyleLbl="node1" presStyleIdx="1" presStyleCnt="7">
        <dgm:presLayoutVars>
          <dgm:bulletEnabled val="1"/>
        </dgm:presLayoutVars>
      </dgm:prSet>
      <dgm:spPr/>
    </dgm:pt>
    <dgm:pt modelId="{0DC5A541-D1C3-7846-B0ED-AD0ADEE3E598}" type="pres">
      <dgm:prSet presAssocID="{CCD74445-C611-4335-8098-ED13AD2367FA}" presName="arrow" presStyleLbl="node1" presStyleIdx="2" presStyleCnt="7">
        <dgm:presLayoutVars>
          <dgm:bulletEnabled val="1"/>
        </dgm:presLayoutVars>
      </dgm:prSet>
      <dgm:spPr/>
    </dgm:pt>
    <dgm:pt modelId="{517D0F23-083A-D64E-9ED5-34BFCFD81F2D}" type="pres">
      <dgm:prSet presAssocID="{3404B2CC-00F7-4C9C-8BE3-C78EFDD44519}" presName="arrow" presStyleLbl="node1" presStyleIdx="3" presStyleCnt="7">
        <dgm:presLayoutVars>
          <dgm:bulletEnabled val="1"/>
        </dgm:presLayoutVars>
      </dgm:prSet>
      <dgm:spPr/>
    </dgm:pt>
    <dgm:pt modelId="{1503FC0C-EC28-4947-BFF1-99290E7330DF}" type="pres">
      <dgm:prSet presAssocID="{CA6DC6F9-2333-4BCB-AC31-ECE5F21304FB}" presName="arrow" presStyleLbl="node1" presStyleIdx="4" presStyleCnt="7">
        <dgm:presLayoutVars>
          <dgm:bulletEnabled val="1"/>
        </dgm:presLayoutVars>
      </dgm:prSet>
      <dgm:spPr/>
    </dgm:pt>
    <dgm:pt modelId="{6DF06D2F-3932-7447-A70A-1AF64F86ED56}" type="pres">
      <dgm:prSet presAssocID="{21ED839F-B435-4609-8BF6-ED9A286D7CEA}" presName="arrow" presStyleLbl="node1" presStyleIdx="5" presStyleCnt="7">
        <dgm:presLayoutVars>
          <dgm:bulletEnabled val="1"/>
        </dgm:presLayoutVars>
      </dgm:prSet>
      <dgm:spPr/>
    </dgm:pt>
    <dgm:pt modelId="{84D88DB1-5863-5D43-9578-C94E821E652C}" type="pres">
      <dgm:prSet presAssocID="{ED1F7AC0-F51E-4862-BE5C-383CAD50CFC8}" presName="arrow" presStyleLbl="node1" presStyleIdx="6" presStyleCnt="7">
        <dgm:presLayoutVars>
          <dgm:bulletEnabled val="1"/>
        </dgm:presLayoutVars>
      </dgm:prSet>
      <dgm:spPr/>
    </dgm:pt>
  </dgm:ptLst>
  <dgm:cxnLst>
    <dgm:cxn modelId="{260D4100-ABA0-B64A-9C7F-8B4F78ECDFD0}" type="presOf" srcId="{CCD74445-C611-4335-8098-ED13AD2367FA}" destId="{0DC5A541-D1C3-7846-B0ED-AD0ADEE3E598}" srcOrd="0" destOrd="0" presId="urn:microsoft.com/office/officeart/2005/8/layout/arrow5"/>
    <dgm:cxn modelId="{A343F401-C048-D94F-8A06-4F626ACEC5C0}" type="presOf" srcId="{F3BB0D8A-0757-4175-9A7C-F751718DC898}" destId="{4E40635F-A712-FA40-9895-1CAF1AFF39EF}" srcOrd="0" destOrd="0" presId="urn:microsoft.com/office/officeart/2005/8/layout/arrow5"/>
    <dgm:cxn modelId="{10A40F04-22FC-1D4E-9D64-92FAF10077C8}" type="presOf" srcId="{3404B2CC-00F7-4C9C-8BE3-C78EFDD44519}" destId="{517D0F23-083A-D64E-9ED5-34BFCFD81F2D}" srcOrd="0" destOrd="0" presId="urn:microsoft.com/office/officeart/2005/8/layout/arrow5"/>
    <dgm:cxn modelId="{E3734609-019A-4460-BA70-D47CE5B420F4}" srcId="{2E0B68EB-3659-45FC-9F99-F83ED2C349D3}" destId="{F3BB0D8A-0757-4175-9A7C-F751718DC898}" srcOrd="0" destOrd="0" parTransId="{9C254C91-B0F8-4718-9F08-08F0AD301ABF}" sibTransId="{2FDCC886-6A9B-4BBC-B19C-4E9CFB1CD303}"/>
    <dgm:cxn modelId="{296B571B-3127-4E25-87D6-F5E6F033F65C}" srcId="{2E0B68EB-3659-45FC-9F99-F83ED2C349D3}" destId="{75C38E2C-0E7E-4BCC-987D-D4751637C9B8}" srcOrd="1" destOrd="0" parTransId="{9CB1B4EE-1A4F-41E8-ABFC-652D9F1E5A75}" sibTransId="{A84BECB8-9165-47B0-8D70-1BBC195D968B}"/>
    <dgm:cxn modelId="{4841263A-0D55-8B45-AF22-4687CD6D67F0}" type="presOf" srcId="{21ED839F-B435-4609-8BF6-ED9A286D7CEA}" destId="{6DF06D2F-3932-7447-A70A-1AF64F86ED56}" srcOrd="0" destOrd="0" presId="urn:microsoft.com/office/officeart/2005/8/layout/arrow5"/>
    <dgm:cxn modelId="{D533A245-7D72-423B-9825-BFBA978FA77B}" srcId="{2E0B68EB-3659-45FC-9F99-F83ED2C349D3}" destId="{ED1F7AC0-F51E-4862-BE5C-383CAD50CFC8}" srcOrd="6" destOrd="0" parTransId="{63877794-4C43-4563-BC56-31AE470B8D8D}" sibTransId="{D7BE999E-DCD6-4630-898F-C5F7802B3953}"/>
    <dgm:cxn modelId="{3DA4A154-429F-454B-9230-6ADF656255B4}" srcId="{2E0B68EB-3659-45FC-9F99-F83ED2C349D3}" destId="{CCD74445-C611-4335-8098-ED13AD2367FA}" srcOrd="2" destOrd="0" parTransId="{9AFC5911-10E8-44D1-ADE0-3D51CAB5C4FD}" sibTransId="{89388BAE-8F4A-45F1-B7C9-21FDB6BB1146}"/>
    <dgm:cxn modelId="{7C088BA1-CAC0-1B40-95E7-B8D2F16BAF51}" type="presOf" srcId="{75C38E2C-0E7E-4BCC-987D-D4751637C9B8}" destId="{D7F4FF65-DEEF-C74A-93F8-52B74E944D65}" srcOrd="0" destOrd="0" presId="urn:microsoft.com/office/officeart/2005/8/layout/arrow5"/>
    <dgm:cxn modelId="{DC5132A5-7C14-0641-8901-1CA252D77804}" type="presOf" srcId="{ED1F7AC0-F51E-4862-BE5C-383CAD50CFC8}" destId="{84D88DB1-5863-5D43-9578-C94E821E652C}" srcOrd="0" destOrd="0" presId="urn:microsoft.com/office/officeart/2005/8/layout/arrow5"/>
    <dgm:cxn modelId="{F85131C0-956A-5449-A4B0-41D4158BBA65}" type="presOf" srcId="{2E0B68EB-3659-45FC-9F99-F83ED2C349D3}" destId="{978F20DB-4287-A541-B2E8-0503286FE62A}" srcOrd="0" destOrd="0" presId="urn:microsoft.com/office/officeart/2005/8/layout/arrow5"/>
    <dgm:cxn modelId="{34F7F0C2-D7D9-48DE-9FE3-72C807162367}" srcId="{2E0B68EB-3659-45FC-9F99-F83ED2C349D3}" destId="{21ED839F-B435-4609-8BF6-ED9A286D7CEA}" srcOrd="5" destOrd="0" parTransId="{5B02333E-6EB3-4FB2-8954-C90337B0CFA3}" sibTransId="{BF821FA8-8893-4F11-BC46-A02438A83B9C}"/>
    <dgm:cxn modelId="{54FECCCD-4782-ED4F-84F2-EA1BC3122327}" type="presOf" srcId="{CA6DC6F9-2333-4BCB-AC31-ECE5F21304FB}" destId="{1503FC0C-EC28-4947-BFF1-99290E7330DF}" srcOrd="0" destOrd="0" presId="urn:microsoft.com/office/officeart/2005/8/layout/arrow5"/>
    <dgm:cxn modelId="{FBB11BD3-48AD-464D-A382-F43972F910A7}" srcId="{2E0B68EB-3659-45FC-9F99-F83ED2C349D3}" destId="{CA6DC6F9-2333-4BCB-AC31-ECE5F21304FB}" srcOrd="4" destOrd="0" parTransId="{B85D9098-D9E3-4545-9F80-6B3A8F195594}" sibTransId="{1EFD0279-78A8-4F3A-A87F-B7A53EC1DFC5}"/>
    <dgm:cxn modelId="{DBDDA8F8-1EFD-45F7-9916-A230CD93752E}" srcId="{2E0B68EB-3659-45FC-9F99-F83ED2C349D3}" destId="{3404B2CC-00F7-4C9C-8BE3-C78EFDD44519}" srcOrd="3" destOrd="0" parTransId="{9C225109-6D62-47F0-A859-29D4A599490F}" sibTransId="{61791763-F3B1-47AB-9207-72A8159F4A6B}"/>
    <dgm:cxn modelId="{BA4D750F-F9FC-CC4A-A551-259797046FB4}" type="presParOf" srcId="{978F20DB-4287-A541-B2E8-0503286FE62A}" destId="{4E40635F-A712-FA40-9895-1CAF1AFF39EF}" srcOrd="0" destOrd="0" presId="urn:microsoft.com/office/officeart/2005/8/layout/arrow5"/>
    <dgm:cxn modelId="{5DF159E7-0A75-C544-9D43-6CAA24C974F6}" type="presParOf" srcId="{978F20DB-4287-A541-B2E8-0503286FE62A}" destId="{D7F4FF65-DEEF-C74A-93F8-52B74E944D65}" srcOrd="1" destOrd="0" presId="urn:microsoft.com/office/officeart/2005/8/layout/arrow5"/>
    <dgm:cxn modelId="{C06AB3F1-4FA5-9A40-917C-11AE43529F0D}" type="presParOf" srcId="{978F20DB-4287-A541-B2E8-0503286FE62A}" destId="{0DC5A541-D1C3-7846-B0ED-AD0ADEE3E598}" srcOrd="2" destOrd="0" presId="urn:microsoft.com/office/officeart/2005/8/layout/arrow5"/>
    <dgm:cxn modelId="{F286E0CC-3E96-7E43-8164-7923350DFD90}" type="presParOf" srcId="{978F20DB-4287-A541-B2E8-0503286FE62A}" destId="{517D0F23-083A-D64E-9ED5-34BFCFD81F2D}" srcOrd="3" destOrd="0" presId="urn:microsoft.com/office/officeart/2005/8/layout/arrow5"/>
    <dgm:cxn modelId="{09BB01BB-6356-774E-944B-585DF04036D3}" type="presParOf" srcId="{978F20DB-4287-A541-B2E8-0503286FE62A}" destId="{1503FC0C-EC28-4947-BFF1-99290E7330DF}" srcOrd="4" destOrd="0" presId="urn:microsoft.com/office/officeart/2005/8/layout/arrow5"/>
    <dgm:cxn modelId="{3E1602A1-2EFC-484B-9EEE-D3E1D4D8EC99}" type="presParOf" srcId="{978F20DB-4287-A541-B2E8-0503286FE62A}" destId="{6DF06D2F-3932-7447-A70A-1AF64F86ED56}" srcOrd="5" destOrd="0" presId="urn:microsoft.com/office/officeart/2005/8/layout/arrow5"/>
    <dgm:cxn modelId="{E38191FD-A379-8B44-8A6E-C57EC5AD2A87}" type="presParOf" srcId="{978F20DB-4287-A541-B2E8-0503286FE62A}" destId="{84D88DB1-5863-5D43-9578-C94E821E652C}" srcOrd="6" destOrd="0" presId="urn:microsoft.com/office/officeart/2005/8/layout/arrow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C658082-5453-4D9E-8DCC-5FE51457C667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F9C538DF-5638-47C2-8322-7889948A9DE4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Description: Combines raw sensor data without preprocessing.</a:t>
          </a:r>
        </a:p>
      </dgm:t>
    </dgm:pt>
    <dgm:pt modelId="{DFAD5960-CFA4-453A-B88D-1553B1D90307}" type="parTrans" cxnId="{FEF5E194-028F-46C8-AD84-C0B11899202B}">
      <dgm:prSet/>
      <dgm:spPr/>
      <dgm:t>
        <a:bodyPr/>
        <a:lstStyle/>
        <a:p>
          <a:endParaRPr lang="en-US"/>
        </a:p>
      </dgm:t>
    </dgm:pt>
    <dgm:pt modelId="{B7394DCC-B545-411B-8332-CA840C4A7717}" type="sibTrans" cxnId="{FEF5E194-028F-46C8-AD84-C0B11899202B}">
      <dgm:prSet/>
      <dgm:spPr/>
      <dgm:t>
        <a:bodyPr/>
        <a:lstStyle/>
        <a:p>
          <a:endParaRPr lang="en-US"/>
        </a:p>
      </dgm:t>
    </dgm:pt>
    <dgm:pt modelId="{2F730DC1-DA8D-4072-A2C3-7A2998F14B56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Techniques:                                                                   </a:t>
          </a:r>
        </a:p>
        <a:p>
          <a:pPr>
            <a:lnSpc>
              <a:spcPct val="100000"/>
            </a:lnSpc>
          </a:pPr>
          <a:r>
            <a:rPr lang="en-US"/>
            <a:t> Adaptive weighting: Real-time error reduction and </a:t>
          </a:r>
        </a:p>
        <a:p>
          <a:pPr>
            <a:lnSpc>
              <a:spcPct val="100000"/>
            </a:lnSpc>
          </a:pPr>
          <a:r>
            <a:rPr lang="en-US"/>
            <a:t>Support degree: Reliability through proximity-based measures</a:t>
          </a:r>
        </a:p>
      </dgm:t>
    </dgm:pt>
    <dgm:pt modelId="{029FBEF7-00D8-445A-B8E6-6315D830272E}" type="parTrans" cxnId="{C1939B87-FF99-4FCB-8BAD-C1586D96DFF9}">
      <dgm:prSet/>
      <dgm:spPr/>
      <dgm:t>
        <a:bodyPr/>
        <a:lstStyle/>
        <a:p>
          <a:endParaRPr lang="en-US"/>
        </a:p>
      </dgm:t>
    </dgm:pt>
    <dgm:pt modelId="{7652A5DA-090D-48E1-9ED2-AF01E5DEFFC8}" type="sibTrans" cxnId="{C1939B87-FF99-4FCB-8BAD-C1586D96DFF9}">
      <dgm:prSet/>
      <dgm:spPr/>
      <dgm:t>
        <a:bodyPr/>
        <a:lstStyle/>
        <a:p>
          <a:endParaRPr lang="en-US"/>
        </a:p>
      </dgm:t>
    </dgm:pt>
    <dgm:pt modelId="{308E4C16-3C85-4284-BD2A-67E995F2F726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Advantages: Enhanced accuracy, noise robustness.</a:t>
          </a:r>
        </a:p>
      </dgm:t>
    </dgm:pt>
    <dgm:pt modelId="{50F8EB3E-93CD-4E46-8304-D594C868645C}" type="parTrans" cxnId="{F519FD44-AF6C-4A78-B933-7E76635A3132}">
      <dgm:prSet/>
      <dgm:spPr/>
      <dgm:t>
        <a:bodyPr/>
        <a:lstStyle/>
        <a:p>
          <a:endParaRPr lang="en-US"/>
        </a:p>
      </dgm:t>
    </dgm:pt>
    <dgm:pt modelId="{3F02F703-9A56-4F12-86BA-0B2C8AE52431}" type="sibTrans" cxnId="{F519FD44-AF6C-4A78-B933-7E76635A3132}">
      <dgm:prSet/>
      <dgm:spPr/>
      <dgm:t>
        <a:bodyPr/>
        <a:lstStyle/>
        <a:p>
          <a:endParaRPr lang="en-US"/>
        </a:p>
      </dgm:t>
    </dgm:pt>
    <dgm:pt modelId="{0C00020C-C5D5-4770-B6E9-2523D36F719A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Challenges: High computational overhead, parameter sensitivity.</a:t>
          </a:r>
        </a:p>
      </dgm:t>
    </dgm:pt>
    <dgm:pt modelId="{4EA83E7F-8DAB-494B-A6C1-FE10C35A58A0}" type="parTrans" cxnId="{EBDE8C9C-4066-4DBB-A213-F2D0DC4B8CAD}">
      <dgm:prSet/>
      <dgm:spPr/>
      <dgm:t>
        <a:bodyPr/>
        <a:lstStyle/>
        <a:p>
          <a:endParaRPr lang="en-US"/>
        </a:p>
      </dgm:t>
    </dgm:pt>
    <dgm:pt modelId="{5019F43C-60E6-4002-878B-11D4F45E96A2}" type="sibTrans" cxnId="{EBDE8C9C-4066-4DBB-A213-F2D0DC4B8CAD}">
      <dgm:prSet/>
      <dgm:spPr/>
      <dgm:t>
        <a:bodyPr/>
        <a:lstStyle/>
        <a:p>
          <a:endParaRPr lang="en-US"/>
        </a:p>
      </dgm:t>
    </dgm:pt>
    <dgm:pt modelId="{E91D7831-810D-4BDA-8EA0-BDF2B6536F99}" type="pres">
      <dgm:prSet presAssocID="{5C658082-5453-4D9E-8DCC-5FE51457C667}" presName="root" presStyleCnt="0">
        <dgm:presLayoutVars>
          <dgm:dir/>
          <dgm:resizeHandles val="exact"/>
        </dgm:presLayoutVars>
      </dgm:prSet>
      <dgm:spPr/>
    </dgm:pt>
    <dgm:pt modelId="{E942B6C9-5053-47EE-ADD1-01C01C8F89B9}" type="pres">
      <dgm:prSet presAssocID="{F9C538DF-5638-47C2-8322-7889948A9DE4}" presName="compNode" presStyleCnt="0"/>
      <dgm:spPr/>
    </dgm:pt>
    <dgm:pt modelId="{96371E30-5436-4D82-8BD5-5AB3CC0584E4}" type="pres">
      <dgm:prSet presAssocID="{F9C538DF-5638-47C2-8322-7889948A9DE4}" presName="bgRect" presStyleLbl="bgShp" presStyleIdx="0" presStyleCnt="4"/>
      <dgm:spPr/>
    </dgm:pt>
    <dgm:pt modelId="{C677B30D-0294-44C5-88DF-AFDC860BA992}" type="pres">
      <dgm:prSet presAssocID="{F9C538DF-5638-47C2-8322-7889948A9DE4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Processor"/>
        </a:ext>
      </dgm:extLst>
    </dgm:pt>
    <dgm:pt modelId="{FB0F115F-0744-4AFB-B466-7C209D457BAC}" type="pres">
      <dgm:prSet presAssocID="{F9C538DF-5638-47C2-8322-7889948A9DE4}" presName="spaceRect" presStyleCnt="0"/>
      <dgm:spPr/>
    </dgm:pt>
    <dgm:pt modelId="{7E6407E0-31BD-404F-B8C9-5D04D2F776EE}" type="pres">
      <dgm:prSet presAssocID="{F9C538DF-5638-47C2-8322-7889948A9DE4}" presName="parTx" presStyleLbl="revTx" presStyleIdx="0" presStyleCnt="4">
        <dgm:presLayoutVars>
          <dgm:chMax val="0"/>
          <dgm:chPref val="0"/>
        </dgm:presLayoutVars>
      </dgm:prSet>
      <dgm:spPr/>
    </dgm:pt>
    <dgm:pt modelId="{199855CB-2531-43B8-A279-B3E83E307978}" type="pres">
      <dgm:prSet presAssocID="{B7394DCC-B545-411B-8332-CA840C4A7717}" presName="sibTrans" presStyleCnt="0"/>
      <dgm:spPr/>
    </dgm:pt>
    <dgm:pt modelId="{4405D3FC-2BFD-4BAA-8317-AE38082B1FEA}" type="pres">
      <dgm:prSet presAssocID="{2F730DC1-DA8D-4072-A2C3-7A2998F14B56}" presName="compNode" presStyleCnt="0"/>
      <dgm:spPr/>
    </dgm:pt>
    <dgm:pt modelId="{C4A00BA8-C5F9-4163-8F14-E51147C8DBD4}" type="pres">
      <dgm:prSet presAssocID="{2F730DC1-DA8D-4072-A2C3-7A2998F14B56}" presName="bgRect" presStyleLbl="bgShp" presStyleIdx="1" presStyleCnt="4" custScaleY="178686"/>
      <dgm:spPr/>
    </dgm:pt>
    <dgm:pt modelId="{892223FC-8466-4D30-9677-871C17680F22}" type="pres">
      <dgm:prSet presAssocID="{2F730DC1-DA8D-4072-A2C3-7A2998F14B56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ircles with arrows with solid fill"/>
        </a:ext>
      </dgm:extLst>
    </dgm:pt>
    <dgm:pt modelId="{7260E739-E22A-413A-8FD2-11B87D2CD279}" type="pres">
      <dgm:prSet presAssocID="{2F730DC1-DA8D-4072-A2C3-7A2998F14B56}" presName="spaceRect" presStyleCnt="0"/>
      <dgm:spPr/>
    </dgm:pt>
    <dgm:pt modelId="{C8046F98-526A-44CC-B572-F3FA8983A722}" type="pres">
      <dgm:prSet presAssocID="{2F730DC1-DA8D-4072-A2C3-7A2998F14B56}" presName="parTx" presStyleLbl="revTx" presStyleIdx="1" presStyleCnt="4" custScaleY="176855">
        <dgm:presLayoutVars>
          <dgm:chMax val="0"/>
          <dgm:chPref val="0"/>
        </dgm:presLayoutVars>
      </dgm:prSet>
      <dgm:spPr/>
    </dgm:pt>
    <dgm:pt modelId="{BC339E05-EF2D-4759-B809-A4844BEEBC1B}" type="pres">
      <dgm:prSet presAssocID="{7652A5DA-090D-48E1-9ED2-AF01E5DEFFC8}" presName="sibTrans" presStyleCnt="0"/>
      <dgm:spPr/>
    </dgm:pt>
    <dgm:pt modelId="{8985B4EE-9F61-417D-A5A4-BEFF99DEA934}" type="pres">
      <dgm:prSet presAssocID="{308E4C16-3C85-4284-BD2A-67E995F2F726}" presName="compNode" presStyleCnt="0"/>
      <dgm:spPr/>
    </dgm:pt>
    <dgm:pt modelId="{39F92726-F513-4D8E-8544-E8D5D714A8C8}" type="pres">
      <dgm:prSet presAssocID="{308E4C16-3C85-4284-BD2A-67E995F2F726}" presName="bgRect" presStyleLbl="bgShp" presStyleIdx="2" presStyleCnt="4"/>
      <dgm:spPr/>
    </dgm:pt>
    <dgm:pt modelId="{8B81FED1-CE9B-4FCF-B623-3BA2192A70F4}" type="pres">
      <dgm:prSet presAssocID="{308E4C16-3C85-4284-BD2A-67E995F2F726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heckmark"/>
        </a:ext>
      </dgm:extLst>
    </dgm:pt>
    <dgm:pt modelId="{944AB872-8F3D-476F-B7AF-1DF6A012775F}" type="pres">
      <dgm:prSet presAssocID="{308E4C16-3C85-4284-BD2A-67E995F2F726}" presName="spaceRect" presStyleCnt="0"/>
      <dgm:spPr/>
    </dgm:pt>
    <dgm:pt modelId="{C36431E2-14A0-40A2-80FD-D384BAB15F1F}" type="pres">
      <dgm:prSet presAssocID="{308E4C16-3C85-4284-BD2A-67E995F2F726}" presName="parTx" presStyleLbl="revTx" presStyleIdx="2" presStyleCnt="4">
        <dgm:presLayoutVars>
          <dgm:chMax val="0"/>
          <dgm:chPref val="0"/>
        </dgm:presLayoutVars>
      </dgm:prSet>
      <dgm:spPr/>
    </dgm:pt>
    <dgm:pt modelId="{532A3234-10A6-4AD8-9DD8-9B2141666540}" type="pres">
      <dgm:prSet presAssocID="{3F02F703-9A56-4F12-86BA-0B2C8AE52431}" presName="sibTrans" presStyleCnt="0"/>
      <dgm:spPr/>
    </dgm:pt>
    <dgm:pt modelId="{803F472D-13E2-470A-B03E-3F4A98BDE0CC}" type="pres">
      <dgm:prSet presAssocID="{0C00020C-C5D5-4770-B6E9-2523D36F719A}" presName="compNode" presStyleCnt="0"/>
      <dgm:spPr/>
    </dgm:pt>
    <dgm:pt modelId="{E277F286-8FC4-492F-91CB-A21B6895A10F}" type="pres">
      <dgm:prSet presAssocID="{0C00020C-C5D5-4770-B6E9-2523D36F719A}" presName="bgRect" presStyleLbl="bgShp" presStyleIdx="3" presStyleCnt="4"/>
      <dgm:spPr/>
    </dgm:pt>
    <dgm:pt modelId="{8D44838F-19DD-4E5D-9056-4A2DCEDAE659}" type="pres">
      <dgm:prSet presAssocID="{0C00020C-C5D5-4770-B6E9-2523D36F719A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Puzzle Pieces"/>
        </a:ext>
      </dgm:extLst>
    </dgm:pt>
    <dgm:pt modelId="{1FFFE1C3-CEE4-4E3B-860F-CAA3B178A2B5}" type="pres">
      <dgm:prSet presAssocID="{0C00020C-C5D5-4770-B6E9-2523D36F719A}" presName="spaceRect" presStyleCnt="0"/>
      <dgm:spPr/>
    </dgm:pt>
    <dgm:pt modelId="{68FC6ABE-63E6-448E-AE17-07196650FDF2}" type="pres">
      <dgm:prSet presAssocID="{0C00020C-C5D5-4770-B6E9-2523D36F719A}" presName="parTx" presStyleLbl="revTx" presStyleIdx="3" presStyleCnt="4">
        <dgm:presLayoutVars>
          <dgm:chMax val="0"/>
          <dgm:chPref val="0"/>
        </dgm:presLayoutVars>
      </dgm:prSet>
      <dgm:spPr/>
    </dgm:pt>
  </dgm:ptLst>
  <dgm:cxnLst>
    <dgm:cxn modelId="{1200A304-8FAC-3848-9944-B08781377E48}" type="presOf" srcId="{2F730DC1-DA8D-4072-A2C3-7A2998F14B56}" destId="{C8046F98-526A-44CC-B572-F3FA8983A722}" srcOrd="0" destOrd="0" presId="urn:microsoft.com/office/officeart/2018/2/layout/IconVerticalSolidList"/>
    <dgm:cxn modelId="{40F46528-A85C-D84D-B6B1-2B701D920CE4}" type="presOf" srcId="{F9C538DF-5638-47C2-8322-7889948A9DE4}" destId="{7E6407E0-31BD-404F-B8C9-5D04D2F776EE}" srcOrd="0" destOrd="0" presId="urn:microsoft.com/office/officeart/2018/2/layout/IconVerticalSolidList"/>
    <dgm:cxn modelId="{F519FD44-AF6C-4A78-B933-7E76635A3132}" srcId="{5C658082-5453-4D9E-8DCC-5FE51457C667}" destId="{308E4C16-3C85-4284-BD2A-67E995F2F726}" srcOrd="2" destOrd="0" parTransId="{50F8EB3E-93CD-4E46-8304-D594C868645C}" sibTransId="{3F02F703-9A56-4F12-86BA-0B2C8AE52431}"/>
    <dgm:cxn modelId="{C1939B87-FF99-4FCB-8BAD-C1586D96DFF9}" srcId="{5C658082-5453-4D9E-8DCC-5FE51457C667}" destId="{2F730DC1-DA8D-4072-A2C3-7A2998F14B56}" srcOrd="1" destOrd="0" parTransId="{029FBEF7-00D8-445A-B8E6-6315D830272E}" sibTransId="{7652A5DA-090D-48E1-9ED2-AF01E5DEFFC8}"/>
    <dgm:cxn modelId="{FEF5E194-028F-46C8-AD84-C0B11899202B}" srcId="{5C658082-5453-4D9E-8DCC-5FE51457C667}" destId="{F9C538DF-5638-47C2-8322-7889948A9DE4}" srcOrd="0" destOrd="0" parTransId="{DFAD5960-CFA4-453A-B88D-1553B1D90307}" sibTransId="{B7394DCC-B545-411B-8332-CA840C4A7717}"/>
    <dgm:cxn modelId="{EBDE8C9C-4066-4DBB-A213-F2D0DC4B8CAD}" srcId="{5C658082-5453-4D9E-8DCC-5FE51457C667}" destId="{0C00020C-C5D5-4770-B6E9-2523D36F719A}" srcOrd="3" destOrd="0" parTransId="{4EA83E7F-8DAB-494B-A6C1-FE10C35A58A0}" sibTransId="{5019F43C-60E6-4002-878B-11D4F45E96A2}"/>
    <dgm:cxn modelId="{2DAA04F4-B04D-F740-B30B-8E7376190B5C}" type="presOf" srcId="{5C658082-5453-4D9E-8DCC-5FE51457C667}" destId="{E91D7831-810D-4BDA-8EA0-BDF2B6536F99}" srcOrd="0" destOrd="0" presId="urn:microsoft.com/office/officeart/2018/2/layout/IconVerticalSolidList"/>
    <dgm:cxn modelId="{7DAE8CFC-61F8-8949-A985-07CADBF4AC57}" type="presOf" srcId="{0C00020C-C5D5-4770-B6E9-2523D36F719A}" destId="{68FC6ABE-63E6-448E-AE17-07196650FDF2}" srcOrd="0" destOrd="0" presId="urn:microsoft.com/office/officeart/2018/2/layout/IconVerticalSolidList"/>
    <dgm:cxn modelId="{8B4719FE-FDBE-D54F-B33D-33E0FA2F1EB4}" type="presOf" srcId="{308E4C16-3C85-4284-BD2A-67E995F2F726}" destId="{C36431E2-14A0-40A2-80FD-D384BAB15F1F}" srcOrd="0" destOrd="0" presId="urn:microsoft.com/office/officeart/2018/2/layout/IconVerticalSolidList"/>
    <dgm:cxn modelId="{5940B44D-0B3F-B447-B919-4E5312CF4F01}" type="presParOf" srcId="{E91D7831-810D-4BDA-8EA0-BDF2B6536F99}" destId="{E942B6C9-5053-47EE-ADD1-01C01C8F89B9}" srcOrd="0" destOrd="0" presId="urn:microsoft.com/office/officeart/2018/2/layout/IconVerticalSolidList"/>
    <dgm:cxn modelId="{817995CE-4A39-8B4C-A53C-F42DB7FFC6C8}" type="presParOf" srcId="{E942B6C9-5053-47EE-ADD1-01C01C8F89B9}" destId="{96371E30-5436-4D82-8BD5-5AB3CC0584E4}" srcOrd="0" destOrd="0" presId="urn:microsoft.com/office/officeart/2018/2/layout/IconVerticalSolidList"/>
    <dgm:cxn modelId="{4B3D2619-4FE0-984A-89E7-8A7FCA8D1037}" type="presParOf" srcId="{E942B6C9-5053-47EE-ADD1-01C01C8F89B9}" destId="{C677B30D-0294-44C5-88DF-AFDC860BA992}" srcOrd="1" destOrd="0" presId="urn:microsoft.com/office/officeart/2018/2/layout/IconVerticalSolidList"/>
    <dgm:cxn modelId="{96CA4965-C8C0-3847-BB45-1052A5DD1EA4}" type="presParOf" srcId="{E942B6C9-5053-47EE-ADD1-01C01C8F89B9}" destId="{FB0F115F-0744-4AFB-B466-7C209D457BAC}" srcOrd="2" destOrd="0" presId="urn:microsoft.com/office/officeart/2018/2/layout/IconVerticalSolidList"/>
    <dgm:cxn modelId="{2888FE79-BBFD-964D-B805-51CA226B5CAC}" type="presParOf" srcId="{E942B6C9-5053-47EE-ADD1-01C01C8F89B9}" destId="{7E6407E0-31BD-404F-B8C9-5D04D2F776EE}" srcOrd="3" destOrd="0" presId="urn:microsoft.com/office/officeart/2018/2/layout/IconVerticalSolidList"/>
    <dgm:cxn modelId="{5AA8D47A-2A65-8445-8751-848CCE5A4860}" type="presParOf" srcId="{E91D7831-810D-4BDA-8EA0-BDF2B6536F99}" destId="{199855CB-2531-43B8-A279-B3E83E307978}" srcOrd="1" destOrd="0" presId="urn:microsoft.com/office/officeart/2018/2/layout/IconVerticalSolidList"/>
    <dgm:cxn modelId="{BB0814FB-304F-B349-BDAD-A2ED44679D81}" type="presParOf" srcId="{E91D7831-810D-4BDA-8EA0-BDF2B6536F99}" destId="{4405D3FC-2BFD-4BAA-8317-AE38082B1FEA}" srcOrd="2" destOrd="0" presId="urn:microsoft.com/office/officeart/2018/2/layout/IconVerticalSolidList"/>
    <dgm:cxn modelId="{4341D2B4-DE15-8C41-9864-0BB1F4FB45C2}" type="presParOf" srcId="{4405D3FC-2BFD-4BAA-8317-AE38082B1FEA}" destId="{C4A00BA8-C5F9-4163-8F14-E51147C8DBD4}" srcOrd="0" destOrd="0" presId="urn:microsoft.com/office/officeart/2018/2/layout/IconVerticalSolidList"/>
    <dgm:cxn modelId="{2CCE9858-F16D-6441-8BEE-706BC1FDBDF3}" type="presParOf" srcId="{4405D3FC-2BFD-4BAA-8317-AE38082B1FEA}" destId="{892223FC-8466-4D30-9677-871C17680F22}" srcOrd="1" destOrd="0" presId="urn:microsoft.com/office/officeart/2018/2/layout/IconVerticalSolidList"/>
    <dgm:cxn modelId="{5DEEC220-42BD-5846-999E-45CA39C8526A}" type="presParOf" srcId="{4405D3FC-2BFD-4BAA-8317-AE38082B1FEA}" destId="{7260E739-E22A-413A-8FD2-11B87D2CD279}" srcOrd="2" destOrd="0" presId="urn:microsoft.com/office/officeart/2018/2/layout/IconVerticalSolidList"/>
    <dgm:cxn modelId="{2FB5FD7D-FFE4-9A42-9EC6-DFCA0B78ED9B}" type="presParOf" srcId="{4405D3FC-2BFD-4BAA-8317-AE38082B1FEA}" destId="{C8046F98-526A-44CC-B572-F3FA8983A722}" srcOrd="3" destOrd="0" presId="urn:microsoft.com/office/officeart/2018/2/layout/IconVerticalSolidList"/>
    <dgm:cxn modelId="{B3477D83-5AE2-874F-BF9B-1DA6633EEE24}" type="presParOf" srcId="{E91D7831-810D-4BDA-8EA0-BDF2B6536F99}" destId="{BC339E05-EF2D-4759-B809-A4844BEEBC1B}" srcOrd="3" destOrd="0" presId="urn:microsoft.com/office/officeart/2018/2/layout/IconVerticalSolidList"/>
    <dgm:cxn modelId="{F61C0CD8-CFE5-6340-81E5-B8C137CFB593}" type="presParOf" srcId="{E91D7831-810D-4BDA-8EA0-BDF2B6536F99}" destId="{8985B4EE-9F61-417D-A5A4-BEFF99DEA934}" srcOrd="4" destOrd="0" presId="urn:microsoft.com/office/officeart/2018/2/layout/IconVerticalSolidList"/>
    <dgm:cxn modelId="{600606DF-2072-A745-A986-1F0E3BA0C98E}" type="presParOf" srcId="{8985B4EE-9F61-417D-A5A4-BEFF99DEA934}" destId="{39F92726-F513-4D8E-8544-E8D5D714A8C8}" srcOrd="0" destOrd="0" presId="urn:microsoft.com/office/officeart/2018/2/layout/IconVerticalSolidList"/>
    <dgm:cxn modelId="{A1F79BD6-2C32-794D-B793-0B4DEB92A3D5}" type="presParOf" srcId="{8985B4EE-9F61-417D-A5A4-BEFF99DEA934}" destId="{8B81FED1-CE9B-4FCF-B623-3BA2192A70F4}" srcOrd="1" destOrd="0" presId="urn:microsoft.com/office/officeart/2018/2/layout/IconVerticalSolidList"/>
    <dgm:cxn modelId="{026E84CD-6850-3746-8B4A-B35D6B8CC725}" type="presParOf" srcId="{8985B4EE-9F61-417D-A5A4-BEFF99DEA934}" destId="{944AB872-8F3D-476F-B7AF-1DF6A012775F}" srcOrd="2" destOrd="0" presId="urn:microsoft.com/office/officeart/2018/2/layout/IconVerticalSolidList"/>
    <dgm:cxn modelId="{137B30A7-D09A-F94F-9E60-0BF734EEEFDD}" type="presParOf" srcId="{8985B4EE-9F61-417D-A5A4-BEFF99DEA934}" destId="{C36431E2-14A0-40A2-80FD-D384BAB15F1F}" srcOrd="3" destOrd="0" presId="urn:microsoft.com/office/officeart/2018/2/layout/IconVerticalSolidList"/>
    <dgm:cxn modelId="{32E0BE40-3EC7-DD43-A8A4-DC929022B1E6}" type="presParOf" srcId="{E91D7831-810D-4BDA-8EA0-BDF2B6536F99}" destId="{532A3234-10A6-4AD8-9DD8-9B2141666540}" srcOrd="5" destOrd="0" presId="urn:microsoft.com/office/officeart/2018/2/layout/IconVerticalSolidList"/>
    <dgm:cxn modelId="{AFAA71D6-21A4-9B4B-A7B6-48CFD2DF8C95}" type="presParOf" srcId="{E91D7831-810D-4BDA-8EA0-BDF2B6536F99}" destId="{803F472D-13E2-470A-B03E-3F4A98BDE0CC}" srcOrd="6" destOrd="0" presId="urn:microsoft.com/office/officeart/2018/2/layout/IconVerticalSolidList"/>
    <dgm:cxn modelId="{FAE628AC-216C-1448-BD99-264B49A356CA}" type="presParOf" srcId="{803F472D-13E2-470A-B03E-3F4A98BDE0CC}" destId="{E277F286-8FC4-492F-91CB-A21B6895A10F}" srcOrd="0" destOrd="0" presId="urn:microsoft.com/office/officeart/2018/2/layout/IconVerticalSolidList"/>
    <dgm:cxn modelId="{511C6ED7-3383-AC4C-B2F8-10DB2D60E6E5}" type="presParOf" srcId="{803F472D-13E2-470A-B03E-3F4A98BDE0CC}" destId="{8D44838F-19DD-4E5D-9056-4A2DCEDAE659}" srcOrd="1" destOrd="0" presId="urn:microsoft.com/office/officeart/2018/2/layout/IconVerticalSolidList"/>
    <dgm:cxn modelId="{E69CD447-F302-2140-A8E2-1318156D1D14}" type="presParOf" srcId="{803F472D-13E2-470A-B03E-3F4A98BDE0CC}" destId="{1FFFE1C3-CEE4-4E3B-860F-CAA3B178A2B5}" srcOrd="2" destOrd="0" presId="urn:microsoft.com/office/officeart/2018/2/layout/IconVerticalSolidList"/>
    <dgm:cxn modelId="{370F364A-FDEC-4A45-8340-7A1A0CB2DDDE}" type="presParOf" srcId="{803F472D-13E2-470A-B03E-3F4A98BDE0CC}" destId="{68FC6ABE-63E6-448E-AE17-07196650FDF2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757B70B7-D664-4F8D-A06A-E694DB4DBC0E}" type="doc">
      <dgm:prSet loTypeId="urn:microsoft.com/office/officeart/2005/8/layout/hierarchy1" loCatId="hierarchy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9320F2F4-DF7E-47D1-85CC-3D274266F460}">
      <dgm:prSet/>
      <dgm:spPr/>
      <dgm:t>
        <a:bodyPr/>
        <a:lstStyle/>
        <a:p>
          <a:r>
            <a:rPr lang="en-US" b="1"/>
            <a:t>Description:</a:t>
          </a:r>
          <a:r>
            <a:rPr lang="en-US"/>
            <a:t> Extracts features from sensor data and merges them.</a:t>
          </a:r>
        </a:p>
      </dgm:t>
    </dgm:pt>
    <dgm:pt modelId="{743CDB50-DD4A-4180-B7DE-DFAF8ADDCBDC}" type="parTrans" cxnId="{2778F976-4203-49A5-AF58-5036C9621843}">
      <dgm:prSet/>
      <dgm:spPr/>
      <dgm:t>
        <a:bodyPr/>
        <a:lstStyle/>
        <a:p>
          <a:endParaRPr lang="en-US"/>
        </a:p>
      </dgm:t>
    </dgm:pt>
    <dgm:pt modelId="{5A6A3D7F-951D-480B-8ECF-1A31185140FA}" type="sibTrans" cxnId="{2778F976-4203-49A5-AF58-5036C9621843}">
      <dgm:prSet/>
      <dgm:spPr/>
      <dgm:t>
        <a:bodyPr/>
        <a:lstStyle/>
        <a:p>
          <a:endParaRPr lang="en-US"/>
        </a:p>
      </dgm:t>
    </dgm:pt>
    <dgm:pt modelId="{9A1154C7-A42B-4FA5-B239-DF47F9C15828}">
      <dgm:prSet/>
      <dgm:spPr/>
      <dgm:t>
        <a:bodyPr/>
        <a:lstStyle/>
        <a:p>
          <a:r>
            <a:rPr lang="en-US"/>
            <a:t>Advantages: Noise reduction, scalability.</a:t>
          </a:r>
        </a:p>
      </dgm:t>
    </dgm:pt>
    <dgm:pt modelId="{A38369F3-AFB0-4748-84A0-D6F86058E35A}" type="parTrans" cxnId="{22FC1558-16D7-411C-9987-1B028EB73BA1}">
      <dgm:prSet/>
      <dgm:spPr/>
      <dgm:t>
        <a:bodyPr/>
        <a:lstStyle/>
        <a:p>
          <a:endParaRPr lang="en-US"/>
        </a:p>
      </dgm:t>
    </dgm:pt>
    <dgm:pt modelId="{8D58CF65-3C9D-4F32-9606-C37C9B6004FB}" type="sibTrans" cxnId="{22FC1558-16D7-411C-9987-1B028EB73BA1}">
      <dgm:prSet/>
      <dgm:spPr/>
      <dgm:t>
        <a:bodyPr/>
        <a:lstStyle/>
        <a:p>
          <a:endParaRPr lang="en-US"/>
        </a:p>
      </dgm:t>
    </dgm:pt>
    <dgm:pt modelId="{5B76087D-2D2F-4F01-8BD1-B280CE95C5D3}">
      <dgm:prSet/>
      <dgm:spPr/>
      <dgm:t>
        <a:bodyPr/>
        <a:lstStyle/>
        <a:p>
          <a:r>
            <a:rPr lang="en-US"/>
            <a:t>Challenges: Feature compatibility, dimensionality issues.</a:t>
          </a:r>
        </a:p>
      </dgm:t>
    </dgm:pt>
    <dgm:pt modelId="{BB1ABFD2-A9AE-401F-A5EB-B591A26B229E}" type="parTrans" cxnId="{273A30F9-E9E8-45EE-B09D-341E9DA36947}">
      <dgm:prSet/>
      <dgm:spPr/>
      <dgm:t>
        <a:bodyPr/>
        <a:lstStyle/>
        <a:p>
          <a:endParaRPr lang="en-US"/>
        </a:p>
      </dgm:t>
    </dgm:pt>
    <dgm:pt modelId="{42C01973-374C-46CE-80B7-CE0F910F4C48}" type="sibTrans" cxnId="{273A30F9-E9E8-45EE-B09D-341E9DA36947}">
      <dgm:prSet/>
      <dgm:spPr/>
      <dgm:t>
        <a:bodyPr/>
        <a:lstStyle/>
        <a:p>
          <a:endParaRPr lang="en-US"/>
        </a:p>
      </dgm:t>
    </dgm:pt>
    <dgm:pt modelId="{2EE9BE0F-151B-B940-876D-7D77D1F8C5E0}" type="pres">
      <dgm:prSet presAssocID="{757B70B7-D664-4F8D-A06A-E694DB4DBC0E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71F9ED33-DB39-0E45-B2AC-6CEE7C51A11D}" type="pres">
      <dgm:prSet presAssocID="{9320F2F4-DF7E-47D1-85CC-3D274266F460}" presName="hierRoot1" presStyleCnt="0"/>
      <dgm:spPr/>
    </dgm:pt>
    <dgm:pt modelId="{3C6E2C9F-0D60-2D4E-9BB9-8CBCE4AB520E}" type="pres">
      <dgm:prSet presAssocID="{9320F2F4-DF7E-47D1-85CC-3D274266F460}" presName="composite" presStyleCnt="0"/>
      <dgm:spPr/>
    </dgm:pt>
    <dgm:pt modelId="{5235BC09-A833-A84A-A8AF-458A7DB054EB}" type="pres">
      <dgm:prSet presAssocID="{9320F2F4-DF7E-47D1-85CC-3D274266F460}" presName="background" presStyleLbl="node0" presStyleIdx="0" presStyleCnt="3"/>
      <dgm:spPr/>
    </dgm:pt>
    <dgm:pt modelId="{116D49E2-B6BD-7E40-87A8-4A0F9A53392B}" type="pres">
      <dgm:prSet presAssocID="{9320F2F4-DF7E-47D1-85CC-3D274266F460}" presName="text" presStyleLbl="fgAcc0" presStyleIdx="0" presStyleCnt="3">
        <dgm:presLayoutVars>
          <dgm:chPref val="3"/>
        </dgm:presLayoutVars>
      </dgm:prSet>
      <dgm:spPr/>
    </dgm:pt>
    <dgm:pt modelId="{D4AF34A4-20F9-7741-86CF-41BE6962DD0A}" type="pres">
      <dgm:prSet presAssocID="{9320F2F4-DF7E-47D1-85CC-3D274266F460}" presName="hierChild2" presStyleCnt="0"/>
      <dgm:spPr/>
    </dgm:pt>
    <dgm:pt modelId="{BD91EFD1-DFBF-F643-A5FE-B9B672877AD8}" type="pres">
      <dgm:prSet presAssocID="{9A1154C7-A42B-4FA5-B239-DF47F9C15828}" presName="hierRoot1" presStyleCnt="0"/>
      <dgm:spPr/>
    </dgm:pt>
    <dgm:pt modelId="{6B7408EE-D9F7-854A-9586-A70094CE4FFF}" type="pres">
      <dgm:prSet presAssocID="{9A1154C7-A42B-4FA5-B239-DF47F9C15828}" presName="composite" presStyleCnt="0"/>
      <dgm:spPr/>
    </dgm:pt>
    <dgm:pt modelId="{272F2676-40DB-C04B-BA7E-A10EFDFE401F}" type="pres">
      <dgm:prSet presAssocID="{9A1154C7-A42B-4FA5-B239-DF47F9C15828}" presName="background" presStyleLbl="node0" presStyleIdx="1" presStyleCnt="3"/>
      <dgm:spPr/>
    </dgm:pt>
    <dgm:pt modelId="{6B02E4B2-AEDE-CD4C-811D-A0FEB927AF2D}" type="pres">
      <dgm:prSet presAssocID="{9A1154C7-A42B-4FA5-B239-DF47F9C15828}" presName="text" presStyleLbl="fgAcc0" presStyleIdx="1" presStyleCnt="3">
        <dgm:presLayoutVars>
          <dgm:chPref val="3"/>
        </dgm:presLayoutVars>
      </dgm:prSet>
      <dgm:spPr/>
    </dgm:pt>
    <dgm:pt modelId="{293786DE-0E33-DB48-A659-69C2540DD7EB}" type="pres">
      <dgm:prSet presAssocID="{9A1154C7-A42B-4FA5-B239-DF47F9C15828}" presName="hierChild2" presStyleCnt="0"/>
      <dgm:spPr/>
    </dgm:pt>
    <dgm:pt modelId="{840FF101-ED6D-CE4C-AAAC-261F644C6D87}" type="pres">
      <dgm:prSet presAssocID="{5B76087D-2D2F-4F01-8BD1-B280CE95C5D3}" presName="hierRoot1" presStyleCnt="0"/>
      <dgm:spPr/>
    </dgm:pt>
    <dgm:pt modelId="{B3B14B66-3B8E-834B-A30B-3050B3ED5050}" type="pres">
      <dgm:prSet presAssocID="{5B76087D-2D2F-4F01-8BD1-B280CE95C5D3}" presName="composite" presStyleCnt="0"/>
      <dgm:spPr/>
    </dgm:pt>
    <dgm:pt modelId="{2A803E04-7F13-6E44-99AE-9E3D315341ED}" type="pres">
      <dgm:prSet presAssocID="{5B76087D-2D2F-4F01-8BD1-B280CE95C5D3}" presName="background" presStyleLbl="node0" presStyleIdx="2" presStyleCnt="3"/>
      <dgm:spPr/>
    </dgm:pt>
    <dgm:pt modelId="{A5F241E7-5102-0B4F-88DF-C951E5BF5F63}" type="pres">
      <dgm:prSet presAssocID="{5B76087D-2D2F-4F01-8BD1-B280CE95C5D3}" presName="text" presStyleLbl="fgAcc0" presStyleIdx="2" presStyleCnt="3">
        <dgm:presLayoutVars>
          <dgm:chPref val="3"/>
        </dgm:presLayoutVars>
      </dgm:prSet>
      <dgm:spPr/>
    </dgm:pt>
    <dgm:pt modelId="{31CF0024-3433-2D4A-AA17-B2A8C9E9DD4D}" type="pres">
      <dgm:prSet presAssocID="{5B76087D-2D2F-4F01-8BD1-B280CE95C5D3}" presName="hierChild2" presStyleCnt="0"/>
      <dgm:spPr/>
    </dgm:pt>
  </dgm:ptLst>
  <dgm:cxnLst>
    <dgm:cxn modelId="{FC149B2A-183A-E447-A283-E00E57E33526}" type="presOf" srcId="{757B70B7-D664-4F8D-A06A-E694DB4DBC0E}" destId="{2EE9BE0F-151B-B940-876D-7D77D1F8C5E0}" srcOrd="0" destOrd="0" presId="urn:microsoft.com/office/officeart/2005/8/layout/hierarchy1"/>
    <dgm:cxn modelId="{FE3C994E-093A-264A-B18A-50577AA804B9}" type="presOf" srcId="{9320F2F4-DF7E-47D1-85CC-3D274266F460}" destId="{116D49E2-B6BD-7E40-87A8-4A0F9A53392B}" srcOrd="0" destOrd="0" presId="urn:microsoft.com/office/officeart/2005/8/layout/hierarchy1"/>
    <dgm:cxn modelId="{22FC1558-16D7-411C-9987-1B028EB73BA1}" srcId="{757B70B7-D664-4F8D-A06A-E694DB4DBC0E}" destId="{9A1154C7-A42B-4FA5-B239-DF47F9C15828}" srcOrd="1" destOrd="0" parTransId="{A38369F3-AFB0-4748-84A0-D6F86058E35A}" sibTransId="{8D58CF65-3C9D-4F32-9606-C37C9B6004FB}"/>
    <dgm:cxn modelId="{2778F976-4203-49A5-AF58-5036C9621843}" srcId="{757B70B7-D664-4F8D-A06A-E694DB4DBC0E}" destId="{9320F2F4-DF7E-47D1-85CC-3D274266F460}" srcOrd="0" destOrd="0" parTransId="{743CDB50-DD4A-4180-B7DE-DFAF8ADDCBDC}" sibTransId="{5A6A3D7F-951D-480B-8ECF-1A31185140FA}"/>
    <dgm:cxn modelId="{141B47E5-848C-9043-904C-1948750919F1}" type="presOf" srcId="{5B76087D-2D2F-4F01-8BD1-B280CE95C5D3}" destId="{A5F241E7-5102-0B4F-88DF-C951E5BF5F63}" srcOrd="0" destOrd="0" presId="urn:microsoft.com/office/officeart/2005/8/layout/hierarchy1"/>
    <dgm:cxn modelId="{931402E6-4AC6-0246-A747-324C7DD84901}" type="presOf" srcId="{9A1154C7-A42B-4FA5-B239-DF47F9C15828}" destId="{6B02E4B2-AEDE-CD4C-811D-A0FEB927AF2D}" srcOrd="0" destOrd="0" presId="urn:microsoft.com/office/officeart/2005/8/layout/hierarchy1"/>
    <dgm:cxn modelId="{273A30F9-E9E8-45EE-B09D-341E9DA36947}" srcId="{757B70B7-D664-4F8D-A06A-E694DB4DBC0E}" destId="{5B76087D-2D2F-4F01-8BD1-B280CE95C5D3}" srcOrd="2" destOrd="0" parTransId="{BB1ABFD2-A9AE-401F-A5EB-B591A26B229E}" sibTransId="{42C01973-374C-46CE-80B7-CE0F910F4C48}"/>
    <dgm:cxn modelId="{7CB80A74-4CF5-8B4D-B608-B9C4A9336EFD}" type="presParOf" srcId="{2EE9BE0F-151B-B940-876D-7D77D1F8C5E0}" destId="{71F9ED33-DB39-0E45-B2AC-6CEE7C51A11D}" srcOrd="0" destOrd="0" presId="urn:microsoft.com/office/officeart/2005/8/layout/hierarchy1"/>
    <dgm:cxn modelId="{E2D3039F-1313-584A-9C0C-9DCC9A8977FF}" type="presParOf" srcId="{71F9ED33-DB39-0E45-B2AC-6CEE7C51A11D}" destId="{3C6E2C9F-0D60-2D4E-9BB9-8CBCE4AB520E}" srcOrd="0" destOrd="0" presId="urn:microsoft.com/office/officeart/2005/8/layout/hierarchy1"/>
    <dgm:cxn modelId="{59C38E70-0903-B84D-B5E5-905B0BCC1C3F}" type="presParOf" srcId="{3C6E2C9F-0D60-2D4E-9BB9-8CBCE4AB520E}" destId="{5235BC09-A833-A84A-A8AF-458A7DB054EB}" srcOrd="0" destOrd="0" presId="urn:microsoft.com/office/officeart/2005/8/layout/hierarchy1"/>
    <dgm:cxn modelId="{CA64E2E5-37DD-4D46-B48D-8146621C9A00}" type="presParOf" srcId="{3C6E2C9F-0D60-2D4E-9BB9-8CBCE4AB520E}" destId="{116D49E2-B6BD-7E40-87A8-4A0F9A53392B}" srcOrd="1" destOrd="0" presId="urn:microsoft.com/office/officeart/2005/8/layout/hierarchy1"/>
    <dgm:cxn modelId="{7F68B83C-3C33-6D47-B66B-D745BAE62A29}" type="presParOf" srcId="{71F9ED33-DB39-0E45-B2AC-6CEE7C51A11D}" destId="{D4AF34A4-20F9-7741-86CF-41BE6962DD0A}" srcOrd="1" destOrd="0" presId="urn:microsoft.com/office/officeart/2005/8/layout/hierarchy1"/>
    <dgm:cxn modelId="{51B99734-3096-674B-A2D4-850D36DC6214}" type="presParOf" srcId="{2EE9BE0F-151B-B940-876D-7D77D1F8C5E0}" destId="{BD91EFD1-DFBF-F643-A5FE-B9B672877AD8}" srcOrd="1" destOrd="0" presId="urn:microsoft.com/office/officeart/2005/8/layout/hierarchy1"/>
    <dgm:cxn modelId="{A2E6E8BC-83B5-BB44-95BF-793F27091CA3}" type="presParOf" srcId="{BD91EFD1-DFBF-F643-A5FE-B9B672877AD8}" destId="{6B7408EE-D9F7-854A-9586-A70094CE4FFF}" srcOrd="0" destOrd="0" presId="urn:microsoft.com/office/officeart/2005/8/layout/hierarchy1"/>
    <dgm:cxn modelId="{9BA302E8-4B8D-F64F-B4EF-1FAC0A3CBE44}" type="presParOf" srcId="{6B7408EE-D9F7-854A-9586-A70094CE4FFF}" destId="{272F2676-40DB-C04B-BA7E-A10EFDFE401F}" srcOrd="0" destOrd="0" presId="urn:microsoft.com/office/officeart/2005/8/layout/hierarchy1"/>
    <dgm:cxn modelId="{A5ABE635-6A88-FB4F-B79B-727CA319BC0F}" type="presParOf" srcId="{6B7408EE-D9F7-854A-9586-A70094CE4FFF}" destId="{6B02E4B2-AEDE-CD4C-811D-A0FEB927AF2D}" srcOrd="1" destOrd="0" presId="urn:microsoft.com/office/officeart/2005/8/layout/hierarchy1"/>
    <dgm:cxn modelId="{3EB116E4-285A-494D-961A-DB568C689AB2}" type="presParOf" srcId="{BD91EFD1-DFBF-F643-A5FE-B9B672877AD8}" destId="{293786DE-0E33-DB48-A659-69C2540DD7EB}" srcOrd="1" destOrd="0" presId="urn:microsoft.com/office/officeart/2005/8/layout/hierarchy1"/>
    <dgm:cxn modelId="{360890E6-E1F6-0E46-ADE2-6BD4440F0B41}" type="presParOf" srcId="{2EE9BE0F-151B-B940-876D-7D77D1F8C5E0}" destId="{840FF101-ED6D-CE4C-AAAC-261F644C6D87}" srcOrd="2" destOrd="0" presId="urn:microsoft.com/office/officeart/2005/8/layout/hierarchy1"/>
    <dgm:cxn modelId="{076CA291-C087-DF4D-AF75-AFC97F9E3150}" type="presParOf" srcId="{840FF101-ED6D-CE4C-AAAC-261F644C6D87}" destId="{B3B14B66-3B8E-834B-A30B-3050B3ED5050}" srcOrd="0" destOrd="0" presId="urn:microsoft.com/office/officeart/2005/8/layout/hierarchy1"/>
    <dgm:cxn modelId="{693FDB97-0A31-884D-A724-DF6DDA7CA1F3}" type="presParOf" srcId="{B3B14B66-3B8E-834B-A30B-3050B3ED5050}" destId="{2A803E04-7F13-6E44-99AE-9E3D315341ED}" srcOrd="0" destOrd="0" presId="urn:microsoft.com/office/officeart/2005/8/layout/hierarchy1"/>
    <dgm:cxn modelId="{9EA65A16-B23A-2B49-936F-222DDBEDA297}" type="presParOf" srcId="{B3B14B66-3B8E-834B-A30B-3050B3ED5050}" destId="{A5F241E7-5102-0B4F-88DF-C951E5BF5F63}" srcOrd="1" destOrd="0" presId="urn:microsoft.com/office/officeart/2005/8/layout/hierarchy1"/>
    <dgm:cxn modelId="{347610CD-CD1B-DC4C-91FE-0C5E18DA9182}" type="presParOf" srcId="{840FF101-ED6D-CE4C-AAAC-261F644C6D87}" destId="{31CF0024-3433-2D4A-AA17-B2A8C9E9DD4D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2198AC9-0002-4456-A4A4-A40B71D28BB6}" type="doc">
      <dgm:prSet loTypeId="urn:microsoft.com/office/officeart/2018/2/layout/IconLabel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A3F7ADD-B43E-4750-A89E-C3BD173D6150}">
      <dgm:prSet/>
      <dgm:spPr/>
      <dgm:t>
        <a:bodyPr/>
        <a:lstStyle/>
        <a:p>
          <a:pPr>
            <a:lnSpc>
              <a:spcPct val="100000"/>
            </a:lnSpc>
          </a:pPr>
          <a:endParaRPr lang="en-US" dirty="0"/>
        </a:p>
      </dgm:t>
    </dgm:pt>
    <dgm:pt modelId="{A77B3E26-AE21-4499-B630-1FF9CF65CA84}" type="parTrans" cxnId="{A8A5D7AC-5C04-44AA-8741-4F6FC6745373}">
      <dgm:prSet/>
      <dgm:spPr/>
      <dgm:t>
        <a:bodyPr/>
        <a:lstStyle/>
        <a:p>
          <a:endParaRPr lang="en-US"/>
        </a:p>
      </dgm:t>
    </dgm:pt>
    <dgm:pt modelId="{A06C803E-9380-4DB0-819B-7DC2BF3C2A09}" type="sibTrans" cxnId="{A8A5D7AC-5C04-44AA-8741-4F6FC6745373}">
      <dgm:prSet/>
      <dgm:spPr/>
      <dgm:t>
        <a:bodyPr/>
        <a:lstStyle/>
        <a:p>
          <a:endParaRPr lang="en-US"/>
        </a:p>
      </dgm:t>
    </dgm:pt>
    <dgm:pt modelId="{FB8BF8CA-E8B0-4B76-8C6F-981A66EA64D6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1. Data Acquisition </a:t>
          </a:r>
        </a:p>
      </dgm:t>
    </dgm:pt>
    <dgm:pt modelId="{17D3CC0D-3249-4E71-90A5-3489C24059E2}" type="parTrans" cxnId="{534888B0-337D-4B1B-9DD2-3CB6BB4F85FA}">
      <dgm:prSet/>
      <dgm:spPr/>
      <dgm:t>
        <a:bodyPr/>
        <a:lstStyle/>
        <a:p>
          <a:endParaRPr lang="en-US"/>
        </a:p>
      </dgm:t>
    </dgm:pt>
    <dgm:pt modelId="{2075BA9B-E63C-403A-9F18-3523FE78FFC0}" type="sibTrans" cxnId="{534888B0-337D-4B1B-9DD2-3CB6BB4F85FA}">
      <dgm:prSet/>
      <dgm:spPr/>
      <dgm:t>
        <a:bodyPr/>
        <a:lstStyle/>
        <a:p>
          <a:endParaRPr lang="en-US"/>
        </a:p>
      </dgm:t>
    </dgm:pt>
    <dgm:pt modelId="{0B1BDE97-7454-4FBF-BAF9-6CF313700081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2. Preprocessing </a:t>
          </a:r>
        </a:p>
      </dgm:t>
    </dgm:pt>
    <dgm:pt modelId="{257067C2-61EE-494B-9543-5CBDEB6E8D6C}" type="parTrans" cxnId="{B42BEFCB-067C-43FD-A676-D1226B5BDF06}">
      <dgm:prSet/>
      <dgm:spPr/>
      <dgm:t>
        <a:bodyPr/>
        <a:lstStyle/>
        <a:p>
          <a:endParaRPr lang="en-US"/>
        </a:p>
      </dgm:t>
    </dgm:pt>
    <dgm:pt modelId="{F2CF1DCB-9152-49F5-8D67-F27E568B4FE8}" type="sibTrans" cxnId="{B42BEFCB-067C-43FD-A676-D1226B5BDF06}">
      <dgm:prSet/>
      <dgm:spPr/>
      <dgm:t>
        <a:bodyPr/>
        <a:lstStyle/>
        <a:p>
          <a:endParaRPr lang="en-US"/>
        </a:p>
      </dgm:t>
    </dgm:pt>
    <dgm:pt modelId="{89D9D354-A356-4CD4-98AE-07AFE440C269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3. Local Analysis </a:t>
          </a:r>
        </a:p>
      </dgm:t>
    </dgm:pt>
    <dgm:pt modelId="{F34E113E-EAFF-4C1F-A11C-851837BE0D5E}" type="parTrans" cxnId="{F2D82A05-EBF6-401D-A0C9-4B4A5BE6E479}">
      <dgm:prSet/>
      <dgm:spPr/>
      <dgm:t>
        <a:bodyPr/>
        <a:lstStyle/>
        <a:p>
          <a:endParaRPr lang="en-US"/>
        </a:p>
      </dgm:t>
    </dgm:pt>
    <dgm:pt modelId="{CD5C7591-7420-455C-A380-F14EE07CEC25}" type="sibTrans" cxnId="{F2D82A05-EBF6-401D-A0C9-4B4A5BE6E479}">
      <dgm:prSet/>
      <dgm:spPr/>
      <dgm:t>
        <a:bodyPr/>
        <a:lstStyle/>
        <a:p>
          <a:endParaRPr lang="en-US"/>
        </a:p>
      </dgm:t>
    </dgm:pt>
    <dgm:pt modelId="{7E0B30DE-9C88-4B92-A160-6728B61A08F8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4. Decision Collection</a:t>
          </a:r>
        </a:p>
      </dgm:t>
    </dgm:pt>
    <dgm:pt modelId="{0679C92E-EAA8-4350-8E5F-BEFCA05DDD01}" type="parTrans" cxnId="{055AA16A-10E1-458F-BC16-0E0172C193E5}">
      <dgm:prSet/>
      <dgm:spPr/>
      <dgm:t>
        <a:bodyPr/>
        <a:lstStyle/>
        <a:p>
          <a:endParaRPr lang="en-US"/>
        </a:p>
      </dgm:t>
    </dgm:pt>
    <dgm:pt modelId="{C96B438A-FE61-433B-AA8D-EA189BF6A994}" type="sibTrans" cxnId="{055AA16A-10E1-458F-BC16-0E0172C193E5}">
      <dgm:prSet/>
      <dgm:spPr/>
      <dgm:t>
        <a:bodyPr/>
        <a:lstStyle/>
        <a:p>
          <a:endParaRPr lang="en-US"/>
        </a:p>
      </dgm:t>
    </dgm:pt>
    <dgm:pt modelId="{E9575F91-AC2E-4B48-885C-EC871E14F924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5. Decision Fusion </a:t>
          </a:r>
        </a:p>
      </dgm:t>
    </dgm:pt>
    <dgm:pt modelId="{163E152C-F1A2-4FDB-9340-567DC883E40A}" type="parTrans" cxnId="{883AFAC3-75F0-4B4B-B5CE-91E2E6CD9BD7}">
      <dgm:prSet/>
      <dgm:spPr/>
      <dgm:t>
        <a:bodyPr/>
        <a:lstStyle/>
        <a:p>
          <a:endParaRPr lang="en-US"/>
        </a:p>
      </dgm:t>
    </dgm:pt>
    <dgm:pt modelId="{6B4437F7-5E70-4542-AE3F-4848CE6AAE74}" type="sibTrans" cxnId="{883AFAC3-75F0-4B4B-B5CE-91E2E6CD9BD7}">
      <dgm:prSet/>
      <dgm:spPr/>
      <dgm:t>
        <a:bodyPr/>
        <a:lstStyle/>
        <a:p>
          <a:endParaRPr lang="en-US"/>
        </a:p>
      </dgm:t>
    </dgm:pt>
    <dgm:pt modelId="{C7B9AD10-CDAA-4082-A27B-A4850BDB8C95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6. Final Decision Making </a:t>
          </a:r>
        </a:p>
      </dgm:t>
    </dgm:pt>
    <dgm:pt modelId="{E5C5503B-928B-45CF-A592-80683C408389}" type="parTrans" cxnId="{2037B7E3-A77D-4808-B92A-6F2D2076A582}">
      <dgm:prSet/>
      <dgm:spPr/>
      <dgm:t>
        <a:bodyPr/>
        <a:lstStyle/>
        <a:p>
          <a:endParaRPr lang="en-US"/>
        </a:p>
      </dgm:t>
    </dgm:pt>
    <dgm:pt modelId="{59A18DBE-B6FF-49A7-B1E5-867342441F88}" type="sibTrans" cxnId="{2037B7E3-A77D-4808-B92A-6F2D2076A582}">
      <dgm:prSet/>
      <dgm:spPr/>
      <dgm:t>
        <a:bodyPr/>
        <a:lstStyle/>
        <a:p>
          <a:endParaRPr lang="en-US"/>
        </a:p>
      </dgm:t>
    </dgm:pt>
    <dgm:pt modelId="{85935708-C34A-409B-A739-0B409C687D51}" type="pres">
      <dgm:prSet presAssocID="{32198AC9-0002-4456-A4A4-A40B71D28BB6}" presName="root" presStyleCnt="0">
        <dgm:presLayoutVars>
          <dgm:dir/>
          <dgm:resizeHandles val="exact"/>
        </dgm:presLayoutVars>
      </dgm:prSet>
      <dgm:spPr/>
    </dgm:pt>
    <dgm:pt modelId="{F6A4E098-6F82-425D-A696-6615D166BE5C}" type="pres">
      <dgm:prSet presAssocID="{FB8BF8CA-E8B0-4B76-8C6F-981A66EA64D6}" presName="compNode" presStyleCnt="0"/>
      <dgm:spPr/>
    </dgm:pt>
    <dgm:pt modelId="{3DB15D7C-96F4-4159-A08F-D6C4A633E939}" type="pres">
      <dgm:prSet presAssocID="{FB8BF8CA-E8B0-4B76-8C6F-981A66EA64D6}" presName="iconRect" presStyleLbl="node1" presStyleIdx="0" presStyleCnt="7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Database"/>
        </a:ext>
      </dgm:extLst>
    </dgm:pt>
    <dgm:pt modelId="{6856BF02-6997-46F1-A5F7-7878188D4D74}" type="pres">
      <dgm:prSet presAssocID="{FB8BF8CA-E8B0-4B76-8C6F-981A66EA64D6}" presName="spaceRect" presStyleCnt="0"/>
      <dgm:spPr/>
    </dgm:pt>
    <dgm:pt modelId="{F7DBDE11-739F-4143-B87D-C8497308DCE5}" type="pres">
      <dgm:prSet presAssocID="{FB8BF8CA-E8B0-4B76-8C6F-981A66EA64D6}" presName="textRect" presStyleLbl="revTx" presStyleIdx="0" presStyleCnt="7">
        <dgm:presLayoutVars>
          <dgm:chMax val="1"/>
          <dgm:chPref val="1"/>
        </dgm:presLayoutVars>
      </dgm:prSet>
      <dgm:spPr/>
    </dgm:pt>
    <dgm:pt modelId="{597F8EB9-F56E-4146-AC84-F3C135F63983}" type="pres">
      <dgm:prSet presAssocID="{2075BA9B-E63C-403A-9F18-3523FE78FFC0}" presName="sibTrans" presStyleCnt="0"/>
      <dgm:spPr/>
    </dgm:pt>
    <dgm:pt modelId="{9F3861D2-83A1-4F29-A655-43E9DDCEEA6D}" type="pres">
      <dgm:prSet presAssocID="{0B1BDE97-7454-4FBF-BAF9-6CF313700081}" presName="compNode" presStyleCnt="0"/>
      <dgm:spPr/>
    </dgm:pt>
    <dgm:pt modelId="{6263B3C6-DA98-4062-B76C-C44A9C3E3656}" type="pres">
      <dgm:prSet presAssocID="{0B1BDE97-7454-4FBF-BAF9-6CF313700081}" presName="iconRect" presStyleLbl="node1" presStyleIdx="1" presStyleCnt="7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46000" r="-46000"/>
          </a:stretch>
        </a:blipFill>
      </dgm:spPr>
    </dgm:pt>
    <dgm:pt modelId="{BE8850B7-26A6-4F24-BB3C-0E38F12802A2}" type="pres">
      <dgm:prSet presAssocID="{0B1BDE97-7454-4FBF-BAF9-6CF313700081}" presName="spaceRect" presStyleCnt="0"/>
      <dgm:spPr/>
    </dgm:pt>
    <dgm:pt modelId="{18CEDB86-954A-4904-8193-5D4200E232D2}" type="pres">
      <dgm:prSet presAssocID="{0B1BDE97-7454-4FBF-BAF9-6CF313700081}" presName="textRect" presStyleLbl="revTx" presStyleIdx="1" presStyleCnt="7">
        <dgm:presLayoutVars>
          <dgm:chMax val="1"/>
          <dgm:chPref val="1"/>
        </dgm:presLayoutVars>
      </dgm:prSet>
      <dgm:spPr/>
    </dgm:pt>
    <dgm:pt modelId="{3E8291FD-BCCD-46DC-805B-5E77211CB5C7}" type="pres">
      <dgm:prSet presAssocID="{F2CF1DCB-9152-49F5-8D67-F27E568B4FE8}" presName="sibTrans" presStyleCnt="0"/>
      <dgm:spPr/>
    </dgm:pt>
    <dgm:pt modelId="{69B21881-48DB-468A-9975-68478502DDA2}" type="pres">
      <dgm:prSet presAssocID="{89D9D354-A356-4CD4-98AE-07AFE440C269}" presName="compNode" presStyleCnt="0"/>
      <dgm:spPr/>
    </dgm:pt>
    <dgm:pt modelId="{242EC22F-DEF0-4976-A8BF-04E2917E300F}" type="pres">
      <dgm:prSet presAssocID="{89D9D354-A356-4CD4-98AE-07AFE440C269}" presName="iconRect" presStyleLbl="node1" presStyleIdx="2" presStyleCnt="7"/>
      <dgm:spPr>
        <a:blipFill>
          <a:blip xmlns:r="http://schemas.openxmlformats.org/officeDocument/2006/relationships"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Research outline"/>
        </a:ext>
      </dgm:extLst>
    </dgm:pt>
    <dgm:pt modelId="{B24D0963-4ED1-4F58-9719-F86398FFCC23}" type="pres">
      <dgm:prSet presAssocID="{89D9D354-A356-4CD4-98AE-07AFE440C269}" presName="spaceRect" presStyleCnt="0"/>
      <dgm:spPr/>
    </dgm:pt>
    <dgm:pt modelId="{3BDA1105-B3FA-4831-8AA7-2B6CC5C80F61}" type="pres">
      <dgm:prSet presAssocID="{89D9D354-A356-4CD4-98AE-07AFE440C269}" presName="textRect" presStyleLbl="revTx" presStyleIdx="2" presStyleCnt="7">
        <dgm:presLayoutVars>
          <dgm:chMax val="1"/>
          <dgm:chPref val="1"/>
        </dgm:presLayoutVars>
      </dgm:prSet>
      <dgm:spPr/>
    </dgm:pt>
    <dgm:pt modelId="{58F3741C-B25D-4F01-A593-F111A46926DC}" type="pres">
      <dgm:prSet presAssocID="{CD5C7591-7420-455C-A380-F14EE07CEC25}" presName="sibTrans" presStyleCnt="0"/>
      <dgm:spPr/>
    </dgm:pt>
    <dgm:pt modelId="{5C6B91DB-EC18-4836-B448-45BCF74EB178}" type="pres">
      <dgm:prSet presAssocID="{7E0B30DE-9C88-4B92-A160-6728B61A08F8}" presName="compNode" presStyleCnt="0"/>
      <dgm:spPr/>
    </dgm:pt>
    <dgm:pt modelId="{EE1A13BF-AA33-41D3-AFA0-01CDF58600C9}" type="pres">
      <dgm:prSet presAssocID="{7E0B30DE-9C88-4B92-A160-6728B61A08F8}" presName="iconRect" presStyleLbl="node1" presStyleIdx="3" presStyleCnt="7"/>
      <dgm:spPr>
        <a:blipFill>
          <a:blip xmlns:r="http://schemas.openxmlformats.org/officeDocument/2006/relationships"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Decision chart outline"/>
        </a:ext>
      </dgm:extLst>
    </dgm:pt>
    <dgm:pt modelId="{963E64FD-0260-4322-A86A-0DB1AEA909AF}" type="pres">
      <dgm:prSet presAssocID="{7E0B30DE-9C88-4B92-A160-6728B61A08F8}" presName="spaceRect" presStyleCnt="0"/>
      <dgm:spPr/>
    </dgm:pt>
    <dgm:pt modelId="{3E94C270-7933-4ADA-8B99-565A540198C5}" type="pres">
      <dgm:prSet presAssocID="{7E0B30DE-9C88-4B92-A160-6728B61A08F8}" presName="textRect" presStyleLbl="revTx" presStyleIdx="3" presStyleCnt="7">
        <dgm:presLayoutVars>
          <dgm:chMax val="1"/>
          <dgm:chPref val="1"/>
        </dgm:presLayoutVars>
      </dgm:prSet>
      <dgm:spPr/>
    </dgm:pt>
    <dgm:pt modelId="{C2C2A81A-257B-4078-8FD6-85C59B023AD9}" type="pres">
      <dgm:prSet presAssocID="{C96B438A-FE61-433B-AA8D-EA189BF6A994}" presName="sibTrans" presStyleCnt="0"/>
      <dgm:spPr/>
    </dgm:pt>
    <dgm:pt modelId="{AE62A5BE-0DF9-4531-B8E8-D84DC84AF0A8}" type="pres">
      <dgm:prSet presAssocID="{E9575F91-AC2E-4B48-885C-EC871E14F924}" presName="compNode" presStyleCnt="0"/>
      <dgm:spPr/>
    </dgm:pt>
    <dgm:pt modelId="{DE05898D-53C4-428C-B688-84EBA785F0CF}" type="pres">
      <dgm:prSet presAssocID="{E9575F91-AC2E-4B48-885C-EC871E14F924}" presName="iconRect" presStyleLbl="node1" presStyleIdx="4" presStyleCnt="7"/>
      <dgm:spPr>
        <a:blipFill>
          <a:blip xmlns:r="http://schemas.openxmlformats.org/officeDocument/2006/relationships"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Venn Diagram"/>
        </a:ext>
      </dgm:extLst>
    </dgm:pt>
    <dgm:pt modelId="{7789FFF0-0628-493E-834A-7AA29F5A5493}" type="pres">
      <dgm:prSet presAssocID="{E9575F91-AC2E-4B48-885C-EC871E14F924}" presName="spaceRect" presStyleCnt="0"/>
      <dgm:spPr/>
    </dgm:pt>
    <dgm:pt modelId="{E5DE5D96-689F-402C-947C-92B757715DC0}" type="pres">
      <dgm:prSet presAssocID="{E9575F91-AC2E-4B48-885C-EC871E14F924}" presName="textRect" presStyleLbl="revTx" presStyleIdx="4" presStyleCnt="7">
        <dgm:presLayoutVars>
          <dgm:chMax val="1"/>
          <dgm:chPref val="1"/>
        </dgm:presLayoutVars>
      </dgm:prSet>
      <dgm:spPr/>
    </dgm:pt>
    <dgm:pt modelId="{1129A85E-3652-43D4-8B87-FE744F44FB23}" type="pres">
      <dgm:prSet presAssocID="{6B4437F7-5E70-4542-AE3F-4848CE6AAE74}" presName="sibTrans" presStyleCnt="0"/>
      <dgm:spPr/>
    </dgm:pt>
    <dgm:pt modelId="{E89FCFBC-1024-4B31-92B4-1D9D2A2C0256}" type="pres">
      <dgm:prSet presAssocID="{C7B9AD10-CDAA-4082-A27B-A4850BDB8C95}" presName="compNode" presStyleCnt="0"/>
      <dgm:spPr/>
    </dgm:pt>
    <dgm:pt modelId="{A8C30068-B1A7-4BEE-A31E-08BD151F1548}" type="pres">
      <dgm:prSet presAssocID="{C7B9AD10-CDAA-4082-A27B-A4850BDB8C95}" presName="iconRect" presStyleLbl="node1" presStyleIdx="5" presStyleCnt="7"/>
      <dgm:spPr>
        <a:blipFill>
          <a:blip xmlns:r="http://schemas.openxmlformats.org/officeDocument/2006/relationships"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Gavel"/>
        </a:ext>
      </dgm:extLst>
    </dgm:pt>
    <dgm:pt modelId="{EA786B2F-B378-4486-AEF3-E5B947695262}" type="pres">
      <dgm:prSet presAssocID="{C7B9AD10-CDAA-4082-A27B-A4850BDB8C95}" presName="spaceRect" presStyleCnt="0"/>
      <dgm:spPr/>
    </dgm:pt>
    <dgm:pt modelId="{A54E09C5-E5A5-4125-B332-52AE5D15169D}" type="pres">
      <dgm:prSet presAssocID="{C7B9AD10-CDAA-4082-A27B-A4850BDB8C95}" presName="textRect" presStyleLbl="revTx" presStyleIdx="5" presStyleCnt="7">
        <dgm:presLayoutVars>
          <dgm:chMax val="1"/>
          <dgm:chPref val="1"/>
        </dgm:presLayoutVars>
      </dgm:prSet>
      <dgm:spPr/>
    </dgm:pt>
    <dgm:pt modelId="{3175DB48-37F7-844A-92E4-5CE7E5A9A9DD}" type="pres">
      <dgm:prSet presAssocID="{59A18DBE-B6FF-49A7-B1E5-867342441F88}" presName="sibTrans" presStyleCnt="0"/>
      <dgm:spPr/>
    </dgm:pt>
    <dgm:pt modelId="{ED8DD6AB-FC27-4B2F-B7B4-40F628964505}" type="pres">
      <dgm:prSet presAssocID="{0A3F7ADD-B43E-4750-A89E-C3BD173D6150}" presName="compNode" presStyleCnt="0"/>
      <dgm:spPr/>
    </dgm:pt>
    <dgm:pt modelId="{FCA9970C-B58C-4F13-9FDC-9754859702DC}" type="pres">
      <dgm:prSet presAssocID="{0A3F7ADD-B43E-4750-A89E-C3BD173D6150}" presName="iconRect" presStyleLbl="node1" presStyleIdx="6" presStyleCnt="7"/>
      <dgm:spPr>
        <a:solidFill>
          <a:schemeClr val="bg1"/>
        </a:solidFill>
      </dgm:spPr>
    </dgm:pt>
    <dgm:pt modelId="{557BDFF2-F71E-46C8-9998-CE75D77FC00E}" type="pres">
      <dgm:prSet presAssocID="{0A3F7ADD-B43E-4750-A89E-C3BD173D6150}" presName="spaceRect" presStyleCnt="0"/>
      <dgm:spPr/>
    </dgm:pt>
    <dgm:pt modelId="{E7CE0520-6A03-4C2D-86F9-4C3F94E43748}" type="pres">
      <dgm:prSet presAssocID="{0A3F7ADD-B43E-4750-A89E-C3BD173D6150}" presName="textRect" presStyleLbl="revTx" presStyleIdx="6" presStyleCnt="7" custLinFactY="-100000" custLinFactNeighborX="-12626" custLinFactNeighborY="-140029">
        <dgm:presLayoutVars>
          <dgm:chMax val="1"/>
          <dgm:chPref val="1"/>
        </dgm:presLayoutVars>
      </dgm:prSet>
      <dgm:spPr/>
    </dgm:pt>
  </dgm:ptLst>
  <dgm:cxnLst>
    <dgm:cxn modelId="{E440D401-18D2-7542-9457-9DAB79ACB4FC}" type="presOf" srcId="{7E0B30DE-9C88-4B92-A160-6728B61A08F8}" destId="{3E94C270-7933-4ADA-8B99-565A540198C5}" srcOrd="0" destOrd="0" presId="urn:microsoft.com/office/officeart/2018/2/layout/IconLabelList"/>
    <dgm:cxn modelId="{F2D82A05-EBF6-401D-A0C9-4B4A5BE6E479}" srcId="{32198AC9-0002-4456-A4A4-A40B71D28BB6}" destId="{89D9D354-A356-4CD4-98AE-07AFE440C269}" srcOrd="2" destOrd="0" parTransId="{F34E113E-EAFF-4C1F-A11C-851837BE0D5E}" sibTransId="{CD5C7591-7420-455C-A380-F14EE07CEC25}"/>
    <dgm:cxn modelId="{DFBB0A16-73E7-EE4F-8AEB-E35C3AAFF2C4}" type="presOf" srcId="{FB8BF8CA-E8B0-4B76-8C6F-981A66EA64D6}" destId="{F7DBDE11-739F-4143-B87D-C8497308DCE5}" srcOrd="0" destOrd="0" presId="urn:microsoft.com/office/officeart/2018/2/layout/IconLabelList"/>
    <dgm:cxn modelId="{DDF0DC2E-A978-3B46-8C05-8EF00271DE4D}" type="presOf" srcId="{32198AC9-0002-4456-A4A4-A40B71D28BB6}" destId="{85935708-C34A-409B-A739-0B409C687D51}" srcOrd="0" destOrd="0" presId="urn:microsoft.com/office/officeart/2018/2/layout/IconLabelList"/>
    <dgm:cxn modelId="{D2775449-8D1A-5E45-A734-F36951EA4A6F}" type="presOf" srcId="{E9575F91-AC2E-4B48-885C-EC871E14F924}" destId="{E5DE5D96-689F-402C-947C-92B757715DC0}" srcOrd="0" destOrd="0" presId="urn:microsoft.com/office/officeart/2018/2/layout/IconLabelList"/>
    <dgm:cxn modelId="{055AA16A-10E1-458F-BC16-0E0172C193E5}" srcId="{32198AC9-0002-4456-A4A4-A40B71D28BB6}" destId="{7E0B30DE-9C88-4B92-A160-6728B61A08F8}" srcOrd="3" destOrd="0" parTransId="{0679C92E-EAA8-4350-8E5F-BEFCA05DDD01}" sibTransId="{C96B438A-FE61-433B-AA8D-EA189BF6A994}"/>
    <dgm:cxn modelId="{E5FDEF7A-896B-6945-80BB-A0937C7B15C0}" type="presOf" srcId="{89D9D354-A356-4CD4-98AE-07AFE440C269}" destId="{3BDA1105-B3FA-4831-8AA7-2B6CC5C80F61}" srcOrd="0" destOrd="0" presId="urn:microsoft.com/office/officeart/2018/2/layout/IconLabelList"/>
    <dgm:cxn modelId="{863A708D-DD50-3A48-8BB5-27A3B6B1AE63}" type="presOf" srcId="{0A3F7ADD-B43E-4750-A89E-C3BD173D6150}" destId="{E7CE0520-6A03-4C2D-86F9-4C3F94E43748}" srcOrd="0" destOrd="0" presId="urn:microsoft.com/office/officeart/2018/2/layout/IconLabelList"/>
    <dgm:cxn modelId="{B65FC9A6-05C8-1F46-AB43-562790436608}" type="presOf" srcId="{0B1BDE97-7454-4FBF-BAF9-6CF313700081}" destId="{18CEDB86-954A-4904-8193-5D4200E232D2}" srcOrd="0" destOrd="0" presId="urn:microsoft.com/office/officeart/2018/2/layout/IconLabelList"/>
    <dgm:cxn modelId="{A8A5D7AC-5C04-44AA-8741-4F6FC6745373}" srcId="{32198AC9-0002-4456-A4A4-A40B71D28BB6}" destId="{0A3F7ADD-B43E-4750-A89E-C3BD173D6150}" srcOrd="6" destOrd="0" parTransId="{A77B3E26-AE21-4499-B630-1FF9CF65CA84}" sibTransId="{A06C803E-9380-4DB0-819B-7DC2BF3C2A09}"/>
    <dgm:cxn modelId="{534888B0-337D-4B1B-9DD2-3CB6BB4F85FA}" srcId="{32198AC9-0002-4456-A4A4-A40B71D28BB6}" destId="{FB8BF8CA-E8B0-4B76-8C6F-981A66EA64D6}" srcOrd="0" destOrd="0" parTransId="{17D3CC0D-3249-4E71-90A5-3489C24059E2}" sibTransId="{2075BA9B-E63C-403A-9F18-3523FE78FFC0}"/>
    <dgm:cxn modelId="{883AFAC3-75F0-4B4B-B5CE-91E2E6CD9BD7}" srcId="{32198AC9-0002-4456-A4A4-A40B71D28BB6}" destId="{E9575F91-AC2E-4B48-885C-EC871E14F924}" srcOrd="4" destOrd="0" parTransId="{163E152C-F1A2-4FDB-9340-567DC883E40A}" sibTransId="{6B4437F7-5E70-4542-AE3F-4848CE6AAE74}"/>
    <dgm:cxn modelId="{B42BEFCB-067C-43FD-A676-D1226B5BDF06}" srcId="{32198AC9-0002-4456-A4A4-A40B71D28BB6}" destId="{0B1BDE97-7454-4FBF-BAF9-6CF313700081}" srcOrd="1" destOrd="0" parTransId="{257067C2-61EE-494B-9543-5CBDEB6E8D6C}" sibTransId="{F2CF1DCB-9152-49F5-8D67-F27E568B4FE8}"/>
    <dgm:cxn modelId="{ED37CED8-99A6-7D45-AC48-0B10FDF5367A}" type="presOf" srcId="{C7B9AD10-CDAA-4082-A27B-A4850BDB8C95}" destId="{A54E09C5-E5A5-4125-B332-52AE5D15169D}" srcOrd="0" destOrd="0" presId="urn:microsoft.com/office/officeart/2018/2/layout/IconLabelList"/>
    <dgm:cxn modelId="{2037B7E3-A77D-4808-B92A-6F2D2076A582}" srcId="{32198AC9-0002-4456-A4A4-A40B71D28BB6}" destId="{C7B9AD10-CDAA-4082-A27B-A4850BDB8C95}" srcOrd="5" destOrd="0" parTransId="{E5C5503B-928B-45CF-A592-80683C408389}" sibTransId="{59A18DBE-B6FF-49A7-B1E5-867342441F88}"/>
    <dgm:cxn modelId="{81F2A79B-7F31-9C4B-A409-9584575D4FC7}" type="presParOf" srcId="{85935708-C34A-409B-A739-0B409C687D51}" destId="{F6A4E098-6F82-425D-A696-6615D166BE5C}" srcOrd="0" destOrd="0" presId="urn:microsoft.com/office/officeart/2018/2/layout/IconLabelList"/>
    <dgm:cxn modelId="{FA0861E0-DB8D-A34C-AA79-6F62122629FA}" type="presParOf" srcId="{F6A4E098-6F82-425D-A696-6615D166BE5C}" destId="{3DB15D7C-96F4-4159-A08F-D6C4A633E939}" srcOrd="0" destOrd="0" presId="urn:microsoft.com/office/officeart/2018/2/layout/IconLabelList"/>
    <dgm:cxn modelId="{2933476B-27B7-7045-A2A2-4260243F6F4E}" type="presParOf" srcId="{F6A4E098-6F82-425D-A696-6615D166BE5C}" destId="{6856BF02-6997-46F1-A5F7-7878188D4D74}" srcOrd="1" destOrd="0" presId="urn:microsoft.com/office/officeart/2018/2/layout/IconLabelList"/>
    <dgm:cxn modelId="{ECEF0B15-2A4A-E04F-8317-95506A193D08}" type="presParOf" srcId="{F6A4E098-6F82-425D-A696-6615D166BE5C}" destId="{F7DBDE11-739F-4143-B87D-C8497308DCE5}" srcOrd="2" destOrd="0" presId="urn:microsoft.com/office/officeart/2018/2/layout/IconLabelList"/>
    <dgm:cxn modelId="{DB8BB493-FCEA-3E4F-842C-58C1A36743BD}" type="presParOf" srcId="{85935708-C34A-409B-A739-0B409C687D51}" destId="{597F8EB9-F56E-4146-AC84-F3C135F63983}" srcOrd="1" destOrd="0" presId="urn:microsoft.com/office/officeart/2018/2/layout/IconLabelList"/>
    <dgm:cxn modelId="{8C195EAF-4CE1-1946-B7BA-B6E4EBD231E9}" type="presParOf" srcId="{85935708-C34A-409B-A739-0B409C687D51}" destId="{9F3861D2-83A1-4F29-A655-43E9DDCEEA6D}" srcOrd="2" destOrd="0" presId="urn:microsoft.com/office/officeart/2018/2/layout/IconLabelList"/>
    <dgm:cxn modelId="{89B7BB83-C777-0847-A453-5536DFBBD186}" type="presParOf" srcId="{9F3861D2-83A1-4F29-A655-43E9DDCEEA6D}" destId="{6263B3C6-DA98-4062-B76C-C44A9C3E3656}" srcOrd="0" destOrd="0" presId="urn:microsoft.com/office/officeart/2018/2/layout/IconLabelList"/>
    <dgm:cxn modelId="{0FE84CC0-DD83-354C-A81B-41C4CE3D7289}" type="presParOf" srcId="{9F3861D2-83A1-4F29-A655-43E9DDCEEA6D}" destId="{BE8850B7-26A6-4F24-BB3C-0E38F12802A2}" srcOrd="1" destOrd="0" presId="urn:microsoft.com/office/officeart/2018/2/layout/IconLabelList"/>
    <dgm:cxn modelId="{3C35969D-F41D-C34D-B3E4-2E8F69D12B0D}" type="presParOf" srcId="{9F3861D2-83A1-4F29-A655-43E9DDCEEA6D}" destId="{18CEDB86-954A-4904-8193-5D4200E232D2}" srcOrd="2" destOrd="0" presId="urn:microsoft.com/office/officeart/2018/2/layout/IconLabelList"/>
    <dgm:cxn modelId="{C8CE0207-EFBC-8A44-BF71-1C0160665283}" type="presParOf" srcId="{85935708-C34A-409B-A739-0B409C687D51}" destId="{3E8291FD-BCCD-46DC-805B-5E77211CB5C7}" srcOrd="3" destOrd="0" presId="urn:microsoft.com/office/officeart/2018/2/layout/IconLabelList"/>
    <dgm:cxn modelId="{466B973F-C2AB-A64A-85BC-6B0E5C23068D}" type="presParOf" srcId="{85935708-C34A-409B-A739-0B409C687D51}" destId="{69B21881-48DB-468A-9975-68478502DDA2}" srcOrd="4" destOrd="0" presId="urn:microsoft.com/office/officeart/2018/2/layout/IconLabelList"/>
    <dgm:cxn modelId="{5654948B-9D3F-7342-A4FA-896DCC7BB007}" type="presParOf" srcId="{69B21881-48DB-468A-9975-68478502DDA2}" destId="{242EC22F-DEF0-4976-A8BF-04E2917E300F}" srcOrd="0" destOrd="0" presId="urn:microsoft.com/office/officeart/2018/2/layout/IconLabelList"/>
    <dgm:cxn modelId="{B103BD47-BD7D-514D-85BA-46729003FDC9}" type="presParOf" srcId="{69B21881-48DB-468A-9975-68478502DDA2}" destId="{B24D0963-4ED1-4F58-9719-F86398FFCC23}" srcOrd="1" destOrd="0" presId="urn:microsoft.com/office/officeart/2018/2/layout/IconLabelList"/>
    <dgm:cxn modelId="{F4FE7897-4627-0A45-99EE-479689C3C0D5}" type="presParOf" srcId="{69B21881-48DB-468A-9975-68478502DDA2}" destId="{3BDA1105-B3FA-4831-8AA7-2B6CC5C80F61}" srcOrd="2" destOrd="0" presId="urn:microsoft.com/office/officeart/2018/2/layout/IconLabelList"/>
    <dgm:cxn modelId="{31221946-D6EC-A943-BB35-BE77BF805DA6}" type="presParOf" srcId="{85935708-C34A-409B-A739-0B409C687D51}" destId="{58F3741C-B25D-4F01-A593-F111A46926DC}" srcOrd="5" destOrd="0" presId="urn:microsoft.com/office/officeart/2018/2/layout/IconLabelList"/>
    <dgm:cxn modelId="{A0FBCDB1-5C6A-134A-92E2-EE7D15040138}" type="presParOf" srcId="{85935708-C34A-409B-A739-0B409C687D51}" destId="{5C6B91DB-EC18-4836-B448-45BCF74EB178}" srcOrd="6" destOrd="0" presId="urn:microsoft.com/office/officeart/2018/2/layout/IconLabelList"/>
    <dgm:cxn modelId="{66DD1331-4625-9B41-B724-83B522FCB0FA}" type="presParOf" srcId="{5C6B91DB-EC18-4836-B448-45BCF74EB178}" destId="{EE1A13BF-AA33-41D3-AFA0-01CDF58600C9}" srcOrd="0" destOrd="0" presId="urn:microsoft.com/office/officeart/2018/2/layout/IconLabelList"/>
    <dgm:cxn modelId="{A6E07010-EA7B-4E4E-94E1-AA510F23EB19}" type="presParOf" srcId="{5C6B91DB-EC18-4836-B448-45BCF74EB178}" destId="{963E64FD-0260-4322-A86A-0DB1AEA909AF}" srcOrd="1" destOrd="0" presId="urn:microsoft.com/office/officeart/2018/2/layout/IconLabelList"/>
    <dgm:cxn modelId="{FCA2DEC5-E22F-434F-B886-20420E2868A0}" type="presParOf" srcId="{5C6B91DB-EC18-4836-B448-45BCF74EB178}" destId="{3E94C270-7933-4ADA-8B99-565A540198C5}" srcOrd="2" destOrd="0" presId="urn:microsoft.com/office/officeart/2018/2/layout/IconLabelList"/>
    <dgm:cxn modelId="{292FBC48-5B0B-3E4D-B049-AF3BA40D217D}" type="presParOf" srcId="{85935708-C34A-409B-A739-0B409C687D51}" destId="{C2C2A81A-257B-4078-8FD6-85C59B023AD9}" srcOrd="7" destOrd="0" presId="urn:microsoft.com/office/officeart/2018/2/layout/IconLabelList"/>
    <dgm:cxn modelId="{9F21687C-B0F3-FA47-8DC8-7FCD2C1ED631}" type="presParOf" srcId="{85935708-C34A-409B-A739-0B409C687D51}" destId="{AE62A5BE-0DF9-4531-B8E8-D84DC84AF0A8}" srcOrd="8" destOrd="0" presId="urn:microsoft.com/office/officeart/2018/2/layout/IconLabelList"/>
    <dgm:cxn modelId="{43EC9B35-DE7F-904A-A20D-E850487D7962}" type="presParOf" srcId="{AE62A5BE-0DF9-4531-B8E8-D84DC84AF0A8}" destId="{DE05898D-53C4-428C-B688-84EBA785F0CF}" srcOrd="0" destOrd="0" presId="urn:microsoft.com/office/officeart/2018/2/layout/IconLabelList"/>
    <dgm:cxn modelId="{9ACAB423-C5B7-CD48-9FA8-18C637D5AE7F}" type="presParOf" srcId="{AE62A5BE-0DF9-4531-B8E8-D84DC84AF0A8}" destId="{7789FFF0-0628-493E-834A-7AA29F5A5493}" srcOrd="1" destOrd="0" presId="urn:microsoft.com/office/officeart/2018/2/layout/IconLabelList"/>
    <dgm:cxn modelId="{17D3C711-2F43-9145-AD42-24B89204415E}" type="presParOf" srcId="{AE62A5BE-0DF9-4531-B8E8-D84DC84AF0A8}" destId="{E5DE5D96-689F-402C-947C-92B757715DC0}" srcOrd="2" destOrd="0" presId="urn:microsoft.com/office/officeart/2018/2/layout/IconLabelList"/>
    <dgm:cxn modelId="{0FE613F0-A37E-5748-B13A-D3E3A640C5FE}" type="presParOf" srcId="{85935708-C34A-409B-A739-0B409C687D51}" destId="{1129A85E-3652-43D4-8B87-FE744F44FB23}" srcOrd="9" destOrd="0" presId="urn:microsoft.com/office/officeart/2018/2/layout/IconLabelList"/>
    <dgm:cxn modelId="{A903A330-6870-794D-8DA0-6CBE78768832}" type="presParOf" srcId="{85935708-C34A-409B-A739-0B409C687D51}" destId="{E89FCFBC-1024-4B31-92B4-1D9D2A2C0256}" srcOrd="10" destOrd="0" presId="urn:microsoft.com/office/officeart/2018/2/layout/IconLabelList"/>
    <dgm:cxn modelId="{9D6D9301-DBB8-B648-BDEE-CCCECFBA2485}" type="presParOf" srcId="{E89FCFBC-1024-4B31-92B4-1D9D2A2C0256}" destId="{A8C30068-B1A7-4BEE-A31E-08BD151F1548}" srcOrd="0" destOrd="0" presId="urn:microsoft.com/office/officeart/2018/2/layout/IconLabelList"/>
    <dgm:cxn modelId="{209B96B8-2B4B-994C-8A35-B8310A8B0286}" type="presParOf" srcId="{E89FCFBC-1024-4B31-92B4-1D9D2A2C0256}" destId="{EA786B2F-B378-4486-AEF3-E5B947695262}" srcOrd="1" destOrd="0" presId="urn:microsoft.com/office/officeart/2018/2/layout/IconLabelList"/>
    <dgm:cxn modelId="{2D0EAB8A-6D33-794A-A3A9-F105826476A8}" type="presParOf" srcId="{E89FCFBC-1024-4B31-92B4-1D9D2A2C0256}" destId="{A54E09C5-E5A5-4125-B332-52AE5D15169D}" srcOrd="2" destOrd="0" presId="urn:microsoft.com/office/officeart/2018/2/layout/IconLabelList"/>
    <dgm:cxn modelId="{D33C347E-8191-4F47-8A55-3C46FF65DA47}" type="presParOf" srcId="{85935708-C34A-409B-A739-0B409C687D51}" destId="{3175DB48-37F7-844A-92E4-5CE7E5A9A9DD}" srcOrd="11" destOrd="0" presId="urn:microsoft.com/office/officeart/2018/2/layout/IconLabelList"/>
    <dgm:cxn modelId="{25AFE813-0157-B44B-B976-9EDD3ECC8323}" type="presParOf" srcId="{85935708-C34A-409B-A739-0B409C687D51}" destId="{ED8DD6AB-FC27-4B2F-B7B4-40F628964505}" srcOrd="12" destOrd="0" presId="urn:microsoft.com/office/officeart/2018/2/layout/IconLabelList"/>
    <dgm:cxn modelId="{DF693DB3-8BD6-254A-8D78-48F82BB9C36A}" type="presParOf" srcId="{ED8DD6AB-FC27-4B2F-B7B4-40F628964505}" destId="{FCA9970C-B58C-4F13-9FDC-9754859702DC}" srcOrd="0" destOrd="0" presId="urn:microsoft.com/office/officeart/2018/2/layout/IconLabelList"/>
    <dgm:cxn modelId="{C837D38B-6F46-6D47-868D-E36155200A09}" type="presParOf" srcId="{ED8DD6AB-FC27-4B2F-B7B4-40F628964505}" destId="{557BDFF2-F71E-46C8-9998-CE75D77FC00E}" srcOrd="1" destOrd="0" presId="urn:microsoft.com/office/officeart/2018/2/layout/IconLabelList"/>
    <dgm:cxn modelId="{1C4A7D85-434D-CA43-B208-B506804F128E}" type="presParOf" srcId="{ED8DD6AB-FC27-4B2F-B7B4-40F628964505}" destId="{E7CE0520-6A03-4C2D-86F9-4C3F94E43748}" srcOrd="2" destOrd="0" presId="urn:microsoft.com/office/officeart/2018/2/layout/IconLabel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6CDA4797-2B52-4854-9540-2D85B9FD454B}" type="doc">
      <dgm:prSet loTypeId="urn:microsoft.com/office/officeart/2018/2/layout/IconCircleList" loCatId="icon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en-US"/>
        </a:p>
      </dgm:t>
    </dgm:pt>
    <dgm:pt modelId="{6A9B046F-0989-4916-A962-A18204DA7867}">
      <dgm:prSet/>
      <dgm:spPr/>
      <dgm:t>
        <a:bodyPr/>
        <a:lstStyle/>
        <a:p>
          <a:r>
            <a:rPr lang="en-US"/>
            <a:t>For real-time, dynamic systems: </a:t>
          </a:r>
          <a:r>
            <a:rPr lang="en-US" b="1"/>
            <a:t>Kalman Filtering</a:t>
          </a:r>
          <a:r>
            <a:rPr lang="en-US"/>
            <a:t>.</a:t>
          </a:r>
        </a:p>
      </dgm:t>
    </dgm:pt>
    <dgm:pt modelId="{53642D88-36E8-4AB5-9AAE-752992F77B15}" type="parTrans" cxnId="{1F143932-BA83-44A8-A448-F43CD1D08776}">
      <dgm:prSet/>
      <dgm:spPr/>
      <dgm:t>
        <a:bodyPr/>
        <a:lstStyle/>
        <a:p>
          <a:endParaRPr lang="en-US"/>
        </a:p>
      </dgm:t>
    </dgm:pt>
    <dgm:pt modelId="{DD9391BD-30D9-44EA-954B-F26F59D692E8}" type="sibTrans" cxnId="{1F143932-BA83-44A8-A448-F43CD1D08776}">
      <dgm:prSet/>
      <dgm:spPr/>
      <dgm:t>
        <a:bodyPr/>
        <a:lstStyle/>
        <a:p>
          <a:endParaRPr lang="en-US"/>
        </a:p>
      </dgm:t>
    </dgm:pt>
    <dgm:pt modelId="{7567A298-841A-4AC9-9BC4-3F1D5E3127B8}">
      <dgm:prSet/>
      <dgm:spPr/>
      <dgm:t>
        <a:bodyPr/>
        <a:lstStyle/>
        <a:p>
          <a:r>
            <a:rPr lang="en-US"/>
            <a:t>For uncertainty management: </a:t>
          </a:r>
          <a:r>
            <a:rPr lang="en-US" b="1"/>
            <a:t>Bayesian Approaches</a:t>
          </a:r>
          <a:r>
            <a:rPr lang="en-US"/>
            <a:t>.</a:t>
          </a:r>
        </a:p>
      </dgm:t>
    </dgm:pt>
    <dgm:pt modelId="{CC29AB91-8984-4A5C-BA50-6D560F8495BC}" type="parTrans" cxnId="{7D633CB0-2A75-40C5-BD04-21C7F6AF1D37}">
      <dgm:prSet/>
      <dgm:spPr/>
      <dgm:t>
        <a:bodyPr/>
        <a:lstStyle/>
        <a:p>
          <a:endParaRPr lang="en-US"/>
        </a:p>
      </dgm:t>
    </dgm:pt>
    <dgm:pt modelId="{C10FC1B8-CD33-4821-8C19-0A6C3A41A02E}" type="sibTrans" cxnId="{7D633CB0-2A75-40C5-BD04-21C7F6AF1D37}">
      <dgm:prSet/>
      <dgm:spPr/>
      <dgm:t>
        <a:bodyPr/>
        <a:lstStyle/>
        <a:p>
          <a:endParaRPr lang="en-US"/>
        </a:p>
      </dgm:t>
    </dgm:pt>
    <dgm:pt modelId="{04DE180A-C4D3-4685-B391-327263E67CF0}">
      <dgm:prSet/>
      <dgm:spPr/>
      <dgm:t>
        <a:bodyPr/>
        <a:lstStyle/>
        <a:p>
          <a:r>
            <a:rPr lang="en-US"/>
            <a:t>For ambiguous data: </a:t>
          </a:r>
          <a:r>
            <a:rPr lang="en-US" b="1"/>
            <a:t>Fuzzy Logic</a:t>
          </a:r>
          <a:r>
            <a:rPr lang="en-US"/>
            <a:t>.</a:t>
          </a:r>
        </a:p>
      </dgm:t>
    </dgm:pt>
    <dgm:pt modelId="{24735A32-8B84-454A-92BC-65394F8FD890}" type="parTrans" cxnId="{2A331B92-4E7B-4B60-A846-35BD15F9A7A2}">
      <dgm:prSet/>
      <dgm:spPr/>
      <dgm:t>
        <a:bodyPr/>
        <a:lstStyle/>
        <a:p>
          <a:endParaRPr lang="en-US"/>
        </a:p>
      </dgm:t>
    </dgm:pt>
    <dgm:pt modelId="{049B9918-9731-4894-8EF9-E7E106E5C265}" type="sibTrans" cxnId="{2A331B92-4E7B-4B60-A846-35BD15F9A7A2}">
      <dgm:prSet/>
      <dgm:spPr/>
      <dgm:t>
        <a:bodyPr/>
        <a:lstStyle/>
        <a:p>
          <a:endParaRPr lang="en-US"/>
        </a:p>
      </dgm:t>
    </dgm:pt>
    <dgm:pt modelId="{8C1A48D0-A085-4DEC-8CE3-259217D7AB04}" type="pres">
      <dgm:prSet presAssocID="{6CDA4797-2B52-4854-9540-2D85B9FD454B}" presName="root" presStyleCnt="0">
        <dgm:presLayoutVars>
          <dgm:dir/>
          <dgm:resizeHandles val="exact"/>
        </dgm:presLayoutVars>
      </dgm:prSet>
      <dgm:spPr/>
    </dgm:pt>
    <dgm:pt modelId="{10AECA7D-CB53-4A28-AC91-CD8C1AF120F7}" type="pres">
      <dgm:prSet presAssocID="{6CDA4797-2B52-4854-9540-2D85B9FD454B}" presName="container" presStyleCnt="0">
        <dgm:presLayoutVars>
          <dgm:dir/>
          <dgm:resizeHandles val="exact"/>
        </dgm:presLayoutVars>
      </dgm:prSet>
      <dgm:spPr/>
    </dgm:pt>
    <dgm:pt modelId="{FF2152AC-1553-4A09-B851-F38B748B854E}" type="pres">
      <dgm:prSet presAssocID="{6A9B046F-0989-4916-A962-A18204DA7867}" presName="compNode" presStyleCnt="0"/>
      <dgm:spPr/>
    </dgm:pt>
    <dgm:pt modelId="{E311617A-29A3-4955-BE5F-6FAD4CABBC5E}" type="pres">
      <dgm:prSet presAssocID="{6A9B046F-0989-4916-A962-A18204DA7867}" presName="iconBgRect" presStyleLbl="bgShp" presStyleIdx="0" presStyleCnt="3"/>
      <dgm:spPr/>
    </dgm:pt>
    <dgm:pt modelId="{AC8A7BC0-D0C8-4F8E-B831-3BD54EDFCAB5}" type="pres">
      <dgm:prSet presAssocID="{6A9B046F-0989-4916-A962-A18204DA7867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tatistics"/>
        </a:ext>
      </dgm:extLst>
    </dgm:pt>
    <dgm:pt modelId="{A0F5BDB4-F73F-45A4-B4DF-A2906A31176A}" type="pres">
      <dgm:prSet presAssocID="{6A9B046F-0989-4916-A962-A18204DA7867}" presName="spaceRect" presStyleCnt="0"/>
      <dgm:spPr/>
    </dgm:pt>
    <dgm:pt modelId="{38D600CA-E350-492D-8E5C-075DC6E84B29}" type="pres">
      <dgm:prSet presAssocID="{6A9B046F-0989-4916-A962-A18204DA7867}" presName="textRect" presStyleLbl="revTx" presStyleIdx="0" presStyleCnt="3">
        <dgm:presLayoutVars>
          <dgm:chMax val="1"/>
          <dgm:chPref val="1"/>
        </dgm:presLayoutVars>
      </dgm:prSet>
      <dgm:spPr/>
    </dgm:pt>
    <dgm:pt modelId="{2D2BDFF1-159E-4218-A653-A1DDE237CFBD}" type="pres">
      <dgm:prSet presAssocID="{DD9391BD-30D9-44EA-954B-F26F59D692E8}" presName="sibTrans" presStyleLbl="sibTrans2D1" presStyleIdx="0" presStyleCnt="0"/>
      <dgm:spPr/>
    </dgm:pt>
    <dgm:pt modelId="{1F8689EF-02EF-4FD1-89AA-1C2E68203D7C}" type="pres">
      <dgm:prSet presAssocID="{7567A298-841A-4AC9-9BC4-3F1D5E3127B8}" presName="compNode" presStyleCnt="0"/>
      <dgm:spPr/>
    </dgm:pt>
    <dgm:pt modelId="{0744133F-FA08-4866-B635-DDDDB662925C}" type="pres">
      <dgm:prSet presAssocID="{7567A298-841A-4AC9-9BC4-3F1D5E3127B8}" presName="iconBgRect" presStyleLbl="bgShp" presStyleIdx="1" presStyleCnt="3"/>
      <dgm:spPr/>
    </dgm:pt>
    <dgm:pt modelId="{7F92C95D-49A6-47FB-8F68-8431C8F56EC7}" type="pres">
      <dgm:prSet presAssocID="{7567A298-841A-4AC9-9BC4-3F1D5E3127B8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Head with Gears"/>
        </a:ext>
      </dgm:extLst>
    </dgm:pt>
    <dgm:pt modelId="{F07C44BF-05ED-4472-AA0F-63DFB3FE1204}" type="pres">
      <dgm:prSet presAssocID="{7567A298-841A-4AC9-9BC4-3F1D5E3127B8}" presName="spaceRect" presStyleCnt="0"/>
      <dgm:spPr/>
    </dgm:pt>
    <dgm:pt modelId="{D999595A-DB30-47C2-968A-F86C170E233C}" type="pres">
      <dgm:prSet presAssocID="{7567A298-841A-4AC9-9BC4-3F1D5E3127B8}" presName="textRect" presStyleLbl="revTx" presStyleIdx="1" presStyleCnt="3">
        <dgm:presLayoutVars>
          <dgm:chMax val="1"/>
          <dgm:chPref val="1"/>
        </dgm:presLayoutVars>
      </dgm:prSet>
      <dgm:spPr/>
    </dgm:pt>
    <dgm:pt modelId="{8461E667-7C0D-4DC9-80D5-274E8661D1AE}" type="pres">
      <dgm:prSet presAssocID="{C10FC1B8-CD33-4821-8C19-0A6C3A41A02E}" presName="sibTrans" presStyleLbl="sibTrans2D1" presStyleIdx="0" presStyleCnt="0"/>
      <dgm:spPr/>
    </dgm:pt>
    <dgm:pt modelId="{4955864D-B412-4731-92AC-8422D848CF3A}" type="pres">
      <dgm:prSet presAssocID="{04DE180A-C4D3-4685-B391-327263E67CF0}" presName="compNode" presStyleCnt="0"/>
      <dgm:spPr/>
    </dgm:pt>
    <dgm:pt modelId="{9C6D9AEA-FCB7-428B-AD39-B94C42AD1002}" type="pres">
      <dgm:prSet presAssocID="{04DE180A-C4D3-4685-B391-327263E67CF0}" presName="iconBgRect" presStyleLbl="bgShp" presStyleIdx="2" presStyleCnt="3"/>
      <dgm:spPr/>
    </dgm:pt>
    <dgm:pt modelId="{AE2A3E28-2DF6-412D-95F7-2285E25F42F2}" type="pres">
      <dgm:prSet presAssocID="{04DE180A-C4D3-4685-B391-327263E67CF0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Question mark"/>
        </a:ext>
      </dgm:extLst>
    </dgm:pt>
    <dgm:pt modelId="{F3F4797F-DA73-437A-A906-B66B07AC3399}" type="pres">
      <dgm:prSet presAssocID="{04DE180A-C4D3-4685-B391-327263E67CF0}" presName="spaceRect" presStyleCnt="0"/>
      <dgm:spPr/>
    </dgm:pt>
    <dgm:pt modelId="{2D1A6432-AE9B-48FD-81E1-1CBEF042C8B7}" type="pres">
      <dgm:prSet presAssocID="{04DE180A-C4D3-4685-B391-327263E67CF0}" presName="textRect" presStyleLbl="revTx" presStyleIdx="2" presStyleCnt="3">
        <dgm:presLayoutVars>
          <dgm:chMax val="1"/>
          <dgm:chPref val="1"/>
        </dgm:presLayoutVars>
      </dgm:prSet>
      <dgm:spPr/>
    </dgm:pt>
  </dgm:ptLst>
  <dgm:cxnLst>
    <dgm:cxn modelId="{D511422D-2D53-4D15-ABB6-38AB4991A043}" type="presOf" srcId="{04DE180A-C4D3-4685-B391-327263E67CF0}" destId="{2D1A6432-AE9B-48FD-81E1-1CBEF042C8B7}" srcOrd="0" destOrd="0" presId="urn:microsoft.com/office/officeart/2018/2/layout/IconCircleList"/>
    <dgm:cxn modelId="{A9676531-F7BB-4A42-A704-2F5F01C568C3}" type="presOf" srcId="{6A9B046F-0989-4916-A962-A18204DA7867}" destId="{38D600CA-E350-492D-8E5C-075DC6E84B29}" srcOrd="0" destOrd="0" presId="urn:microsoft.com/office/officeart/2018/2/layout/IconCircleList"/>
    <dgm:cxn modelId="{1F143932-BA83-44A8-A448-F43CD1D08776}" srcId="{6CDA4797-2B52-4854-9540-2D85B9FD454B}" destId="{6A9B046F-0989-4916-A962-A18204DA7867}" srcOrd="0" destOrd="0" parTransId="{53642D88-36E8-4AB5-9AAE-752992F77B15}" sibTransId="{DD9391BD-30D9-44EA-954B-F26F59D692E8}"/>
    <dgm:cxn modelId="{79D3E933-61CD-4088-AC8C-D81770B90390}" type="presOf" srcId="{C10FC1B8-CD33-4821-8C19-0A6C3A41A02E}" destId="{8461E667-7C0D-4DC9-80D5-274E8661D1AE}" srcOrd="0" destOrd="0" presId="urn:microsoft.com/office/officeart/2018/2/layout/IconCircleList"/>
    <dgm:cxn modelId="{C07A4983-5290-4538-AE08-7FA55B33FD87}" type="presOf" srcId="{7567A298-841A-4AC9-9BC4-3F1D5E3127B8}" destId="{D999595A-DB30-47C2-968A-F86C170E233C}" srcOrd="0" destOrd="0" presId="urn:microsoft.com/office/officeart/2018/2/layout/IconCircleList"/>
    <dgm:cxn modelId="{2A331B92-4E7B-4B60-A846-35BD15F9A7A2}" srcId="{6CDA4797-2B52-4854-9540-2D85B9FD454B}" destId="{04DE180A-C4D3-4685-B391-327263E67CF0}" srcOrd="2" destOrd="0" parTransId="{24735A32-8B84-454A-92BC-65394F8FD890}" sibTransId="{049B9918-9731-4894-8EF9-E7E106E5C265}"/>
    <dgm:cxn modelId="{7D633CB0-2A75-40C5-BD04-21C7F6AF1D37}" srcId="{6CDA4797-2B52-4854-9540-2D85B9FD454B}" destId="{7567A298-841A-4AC9-9BC4-3F1D5E3127B8}" srcOrd="1" destOrd="0" parTransId="{CC29AB91-8984-4A5C-BA50-6D560F8495BC}" sibTransId="{C10FC1B8-CD33-4821-8C19-0A6C3A41A02E}"/>
    <dgm:cxn modelId="{26E996BD-D4B0-4A4A-9619-6CF145115B75}" type="presOf" srcId="{DD9391BD-30D9-44EA-954B-F26F59D692E8}" destId="{2D2BDFF1-159E-4218-A653-A1DDE237CFBD}" srcOrd="0" destOrd="0" presId="urn:microsoft.com/office/officeart/2018/2/layout/IconCircleList"/>
    <dgm:cxn modelId="{7FBA7EF9-B6CE-427B-A081-B205A52CFDCA}" type="presOf" srcId="{6CDA4797-2B52-4854-9540-2D85B9FD454B}" destId="{8C1A48D0-A085-4DEC-8CE3-259217D7AB04}" srcOrd="0" destOrd="0" presId="urn:microsoft.com/office/officeart/2018/2/layout/IconCircleList"/>
    <dgm:cxn modelId="{DA0B01BE-5C46-4B95-B68C-B2F7878C80FC}" type="presParOf" srcId="{8C1A48D0-A085-4DEC-8CE3-259217D7AB04}" destId="{10AECA7D-CB53-4A28-AC91-CD8C1AF120F7}" srcOrd="0" destOrd="0" presId="urn:microsoft.com/office/officeart/2018/2/layout/IconCircleList"/>
    <dgm:cxn modelId="{1C8DEC36-9C11-418C-A107-F7B6C5CFED9E}" type="presParOf" srcId="{10AECA7D-CB53-4A28-AC91-CD8C1AF120F7}" destId="{FF2152AC-1553-4A09-B851-F38B748B854E}" srcOrd="0" destOrd="0" presId="urn:microsoft.com/office/officeart/2018/2/layout/IconCircleList"/>
    <dgm:cxn modelId="{22DB7F42-D959-4745-B9F8-6F5878CC3198}" type="presParOf" srcId="{FF2152AC-1553-4A09-B851-F38B748B854E}" destId="{E311617A-29A3-4955-BE5F-6FAD4CABBC5E}" srcOrd="0" destOrd="0" presId="urn:microsoft.com/office/officeart/2018/2/layout/IconCircleList"/>
    <dgm:cxn modelId="{FE083750-6DE8-45EB-BC90-1CED0A07BE8D}" type="presParOf" srcId="{FF2152AC-1553-4A09-B851-F38B748B854E}" destId="{AC8A7BC0-D0C8-4F8E-B831-3BD54EDFCAB5}" srcOrd="1" destOrd="0" presId="urn:microsoft.com/office/officeart/2018/2/layout/IconCircleList"/>
    <dgm:cxn modelId="{73098078-EE99-4971-8D1E-C0785CB1AE03}" type="presParOf" srcId="{FF2152AC-1553-4A09-B851-F38B748B854E}" destId="{A0F5BDB4-F73F-45A4-B4DF-A2906A31176A}" srcOrd="2" destOrd="0" presId="urn:microsoft.com/office/officeart/2018/2/layout/IconCircleList"/>
    <dgm:cxn modelId="{ED358967-3EDC-4B08-B67B-8847E122FA9A}" type="presParOf" srcId="{FF2152AC-1553-4A09-B851-F38B748B854E}" destId="{38D600CA-E350-492D-8E5C-075DC6E84B29}" srcOrd="3" destOrd="0" presId="urn:microsoft.com/office/officeart/2018/2/layout/IconCircleList"/>
    <dgm:cxn modelId="{A8DD7AFD-86B6-4D48-B58D-A65880ACB6AB}" type="presParOf" srcId="{10AECA7D-CB53-4A28-AC91-CD8C1AF120F7}" destId="{2D2BDFF1-159E-4218-A653-A1DDE237CFBD}" srcOrd="1" destOrd="0" presId="urn:microsoft.com/office/officeart/2018/2/layout/IconCircleList"/>
    <dgm:cxn modelId="{D24A9846-D8D1-4913-9996-F8542DD8D2B4}" type="presParOf" srcId="{10AECA7D-CB53-4A28-AC91-CD8C1AF120F7}" destId="{1F8689EF-02EF-4FD1-89AA-1C2E68203D7C}" srcOrd="2" destOrd="0" presId="urn:microsoft.com/office/officeart/2018/2/layout/IconCircleList"/>
    <dgm:cxn modelId="{6B259164-2036-46CF-B971-03D2D512E6EE}" type="presParOf" srcId="{1F8689EF-02EF-4FD1-89AA-1C2E68203D7C}" destId="{0744133F-FA08-4866-B635-DDDDB662925C}" srcOrd="0" destOrd="0" presId="urn:microsoft.com/office/officeart/2018/2/layout/IconCircleList"/>
    <dgm:cxn modelId="{410971EC-7CE4-48A5-ADDA-0B20CACB7BD0}" type="presParOf" srcId="{1F8689EF-02EF-4FD1-89AA-1C2E68203D7C}" destId="{7F92C95D-49A6-47FB-8F68-8431C8F56EC7}" srcOrd="1" destOrd="0" presId="urn:microsoft.com/office/officeart/2018/2/layout/IconCircleList"/>
    <dgm:cxn modelId="{47C9F06A-44D9-402F-B573-8F0F0F2F1E59}" type="presParOf" srcId="{1F8689EF-02EF-4FD1-89AA-1C2E68203D7C}" destId="{F07C44BF-05ED-4472-AA0F-63DFB3FE1204}" srcOrd="2" destOrd="0" presId="urn:microsoft.com/office/officeart/2018/2/layout/IconCircleList"/>
    <dgm:cxn modelId="{B423F23B-6A34-4461-8985-73519BF06DD2}" type="presParOf" srcId="{1F8689EF-02EF-4FD1-89AA-1C2E68203D7C}" destId="{D999595A-DB30-47C2-968A-F86C170E233C}" srcOrd="3" destOrd="0" presId="urn:microsoft.com/office/officeart/2018/2/layout/IconCircleList"/>
    <dgm:cxn modelId="{98F6C7A5-DCDD-414A-BADB-639B037C228D}" type="presParOf" srcId="{10AECA7D-CB53-4A28-AC91-CD8C1AF120F7}" destId="{8461E667-7C0D-4DC9-80D5-274E8661D1AE}" srcOrd="3" destOrd="0" presId="urn:microsoft.com/office/officeart/2018/2/layout/IconCircleList"/>
    <dgm:cxn modelId="{90980389-1AD6-4BD7-BE18-22AB33D36291}" type="presParOf" srcId="{10AECA7D-CB53-4A28-AC91-CD8C1AF120F7}" destId="{4955864D-B412-4731-92AC-8422D848CF3A}" srcOrd="4" destOrd="0" presId="urn:microsoft.com/office/officeart/2018/2/layout/IconCircleList"/>
    <dgm:cxn modelId="{4D14E5E1-553C-49D1-A3E9-A0E47D49FD51}" type="presParOf" srcId="{4955864D-B412-4731-92AC-8422D848CF3A}" destId="{9C6D9AEA-FCB7-428B-AD39-B94C42AD1002}" srcOrd="0" destOrd="0" presId="urn:microsoft.com/office/officeart/2018/2/layout/IconCircleList"/>
    <dgm:cxn modelId="{85DA85F5-5F28-400F-A905-7BCF5C24134F}" type="presParOf" srcId="{4955864D-B412-4731-92AC-8422D848CF3A}" destId="{AE2A3E28-2DF6-412D-95F7-2285E25F42F2}" srcOrd="1" destOrd="0" presId="urn:microsoft.com/office/officeart/2018/2/layout/IconCircleList"/>
    <dgm:cxn modelId="{E36B47A2-B93B-420D-BA06-507127C65151}" type="presParOf" srcId="{4955864D-B412-4731-92AC-8422D848CF3A}" destId="{F3F4797F-DA73-437A-A906-B66B07AC3399}" srcOrd="2" destOrd="0" presId="urn:microsoft.com/office/officeart/2018/2/layout/IconCircleList"/>
    <dgm:cxn modelId="{E634986B-83CA-467E-ABC2-DFE2F9B68337}" type="presParOf" srcId="{4955864D-B412-4731-92AC-8422D848CF3A}" destId="{2D1A6432-AE9B-48FD-81E1-1CBEF042C8B7}" srcOrd="3" destOrd="0" presId="urn:microsoft.com/office/officeart/2018/2/layout/IconCircle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E862367-0EB7-44EF-AB37-F9223A5ACCB9}">
      <dsp:nvSpPr>
        <dsp:cNvPr id="0" name=""/>
        <dsp:cNvSpPr/>
      </dsp:nvSpPr>
      <dsp:spPr>
        <a:xfrm>
          <a:off x="82613" y="908559"/>
          <a:ext cx="897246" cy="897246"/>
        </a:xfrm>
        <a:prstGeom prst="ellipse">
          <a:avLst/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5AFEC22-2AE9-407B-AE9A-5B6E82722BA4}">
      <dsp:nvSpPr>
        <dsp:cNvPr id="0" name=""/>
        <dsp:cNvSpPr/>
      </dsp:nvSpPr>
      <dsp:spPr>
        <a:xfrm>
          <a:off x="271034" y="1096980"/>
          <a:ext cx="520402" cy="520402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654227E-4417-461C-BC7F-F72D94D84168}">
      <dsp:nvSpPr>
        <dsp:cNvPr id="0" name=""/>
        <dsp:cNvSpPr/>
      </dsp:nvSpPr>
      <dsp:spPr>
        <a:xfrm>
          <a:off x="1172126" y="908559"/>
          <a:ext cx="2114937" cy="89724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Reduces measurement errors.</a:t>
          </a:r>
        </a:p>
      </dsp:txBody>
      <dsp:txXfrm>
        <a:off x="1172126" y="908559"/>
        <a:ext cx="2114937" cy="897246"/>
      </dsp:txXfrm>
    </dsp:sp>
    <dsp:sp modelId="{5F69CCE0-FC62-4F87-89C6-8931691A524E}">
      <dsp:nvSpPr>
        <dsp:cNvPr id="0" name=""/>
        <dsp:cNvSpPr/>
      </dsp:nvSpPr>
      <dsp:spPr>
        <a:xfrm>
          <a:off x="3655575" y="908559"/>
          <a:ext cx="897246" cy="897246"/>
        </a:xfrm>
        <a:prstGeom prst="ellipse">
          <a:avLst/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3E345F7-6237-4307-BCFF-ACA484C1C32A}">
      <dsp:nvSpPr>
        <dsp:cNvPr id="0" name=""/>
        <dsp:cNvSpPr/>
      </dsp:nvSpPr>
      <dsp:spPr>
        <a:xfrm>
          <a:off x="3843996" y="1096980"/>
          <a:ext cx="520402" cy="520402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4DF94E4-2FD5-49BD-B6DE-0F6467707868}">
      <dsp:nvSpPr>
        <dsp:cNvPr id="0" name=""/>
        <dsp:cNvSpPr/>
      </dsp:nvSpPr>
      <dsp:spPr>
        <a:xfrm>
          <a:off x="4745088" y="908559"/>
          <a:ext cx="2114937" cy="89724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Enhances system dependability.</a:t>
          </a:r>
        </a:p>
      </dsp:txBody>
      <dsp:txXfrm>
        <a:off x="4745088" y="908559"/>
        <a:ext cx="2114937" cy="897246"/>
      </dsp:txXfrm>
    </dsp:sp>
    <dsp:sp modelId="{8741E94B-6428-4756-B283-684F35183DD9}">
      <dsp:nvSpPr>
        <dsp:cNvPr id="0" name=""/>
        <dsp:cNvSpPr/>
      </dsp:nvSpPr>
      <dsp:spPr>
        <a:xfrm>
          <a:off x="7228536" y="908559"/>
          <a:ext cx="897246" cy="897246"/>
        </a:xfrm>
        <a:prstGeom prst="ellipse">
          <a:avLst/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63ACB5D-5C7F-4D2E-B19C-B8E1E5CA5D0D}">
      <dsp:nvSpPr>
        <dsp:cNvPr id="0" name=""/>
        <dsp:cNvSpPr/>
      </dsp:nvSpPr>
      <dsp:spPr>
        <a:xfrm>
          <a:off x="7416958" y="1096980"/>
          <a:ext cx="520402" cy="520402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70FA927-A00E-456F-8618-27463DFE56C3}">
      <dsp:nvSpPr>
        <dsp:cNvPr id="0" name=""/>
        <dsp:cNvSpPr/>
      </dsp:nvSpPr>
      <dsp:spPr>
        <a:xfrm>
          <a:off x="8318049" y="908559"/>
          <a:ext cx="2114937" cy="89724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Provides robust solutions in dynamic environments.</a:t>
          </a:r>
        </a:p>
      </dsp:txBody>
      <dsp:txXfrm>
        <a:off x="8318049" y="908559"/>
        <a:ext cx="2114937" cy="897246"/>
      </dsp:txXfrm>
    </dsp:sp>
    <dsp:sp modelId="{DD430E7D-85C9-4112-B11E-2A5CAFAD6977}">
      <dsp:nvSpPr>
        <dsp:cNvPr id="0" name=""/>
        <dsp:cNvSpPr/>
      </dsp:nvSpPr>
      <dsp:spPr>
        <a:xfrm>
          <a:off x="82613" y="2545532"/>
          <a:ext cx="897246" cy="897246"/>
        </a:xfrm>
        <a:prstGeom prst="ellipse">
          <a:avLst/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A5F4B11-A710-41FE-B130-36AF345D45C0}">
      <dsp:nvSpPr>
        <dsp:cNvPr id="0" name=""/>
        <dsp:cNvSpPr/>
      </dsp:nvSpPr>
      <dsp:spPr>
        <a:xfrm>
          <a:off x="271034" y="2733954"/>
          <a:ext cx="520402" cy="520402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A480AA1-E5D7-4634-9327-D7AA0C0D6F03}">
      <dsp:nvSpPr>
        <dsp:cNvPr id="0" name=""/>
        <dsp:cNvSpPr/>
      </dsp:nvSpPr>
      <dsp:spPr>
        <a:xfrm>
          <a:off x="1172126" y="2545532"/>
          <a:ext cx="2114937" cy="89724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Obstacle detection</a:t>
          </a:r>
        </a:p>
      </dsp:txBody>
      <dsp:txXfrm>
        <a:off x="1172126" y="2545532"/>
        <a:ext cx="2114937" cy="897246"/>
      </dsp:txXfrm>
    </dsp:sp>
    <dsp:sp modelId="{FB49EE28-8D68-4C61-8271-2EE2CD43AB30}">
      <dsp:nvSpPr>
        <dsp:cNvPr id="0" name=""/>
        <dsp:cNvSpPr/>
      </dsp:nvSpPr>
      <dsp:spPr>
        <a:xfrm>
          <a:off x="3655575" y="2545532"/>
          <a:ext cx="897246" cy="897246"/>
        </a:xfrm>
        <a:prstGeom prst="ellipse">
          <a:avLst/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BF9835A-EFDD-4918-B06C-D5865C2C6724}">
      <dsp:nvSpPr>
        <dsp:cNvPr id="0" name=""/>
        <dsp:cNvSpPr/>
      </dsp:nvSpPr>
      <dsp:spPr>
        <a:xfrm>
          <a:off x="3843996" y="2733954"/>
          <a:ext cx="520402" cy="520402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E1AC140-F20F-43BD-842A-35F37EE405A9}">
      <dsp:nvSpPr>
        <dsp:cNvPr id="0" name=""/>
        <dsp:cNvSpPr/>
      </dsp:nvSpPr>
      <dsp:spPr>
        <a:xfrm>
          <a:off x="4745088" y="2545532"/>
          <a:ext cx="2114937" cy="89724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Human activity recognition</a:t>
          </a:r>
        </a:p>
      </dsp:txBody>
      <dsp:txXfrm>
        <a:off x="4745088" y="2545532"/>
        <a:ext cx="2114937" cy="897246"/>
      </dsp:txXfrm>
    </dsp:sp>
    <dsp:sp modelId="{83FD8B3B-E672-4AFD-B95F-1052E7E8B3B2}">
      <dsp:nvSpPr>
        <dsp:cNvPr id="0" name=""/>
        <dsp:cNvSpPr/>
      </dsp:nvSpPr>
      <dsp:spPr>
        <a:xfrm>
          <a:off x="7228536" y="2545532"/>
          <a:ext cx="897246" cy="897246"/>
        </a:xfrm>
        <a:prstGeom prst="ellipse">
          <a:avLst/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302CB87-AB07-4DAA-82F8-BD6186DC88EB}">
      <dsp:nvSpPr>
        <dsp:cNvPr id="0" name=""/>
        <dsp:cNvSpPr/>
      </dsp:nvSpPr>
      <dsp:spPr>
        <a:xfrm>
          <a:off x="7416958" y="2733954"/>
          <a:ext cx="520402" cy="520402"/>
        </a:xfrm>
        <a:prstGeom prst="rect">
          <a:avLst/>
        </a:prstGeom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4BE5415-8EAA-419C-8745-195D5A3B1A79}">
      <dsp:nvSpPr>
        <dsp:cNvPr id="0" name=""/>
        <dsp:cNvSpPr/>
      </dsp:nvSpPr>
      <dsp:spPr>
        <a:xfrm>
          <a:off x="8318049" y="2545532"/>
          <a:ext cx="2114937" cy="89724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Power optimization in wireless sensor networks</a:t>
          </a:r>
        </a:p>
      </dsp:txBody>
      <dsp:txXfrm>
        <a:off x="8318049" y="2545532"/>
        <a:ext cx="2114937" cy="89724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E40635F-A712-FA40-9895-1CAF1AFF39EF}">
      <dsp:nvSpPr>
        <dsp:cNvPr id="0" name=""/>
        <dsp:cNvSpPr/>
      </dsp:nvSpPr>
      <dsp:spPr>
        <a:xfrm>
          <a:off x="4651278" y="2134"/>
          <a:ext cx="1213042" cy="1213042"/>
        </a:xfrm>
        <a:prstGeom prst="downArrow">
          <a:avLst>
            <a:gd name="adj1" fmla="val 50000"/>
            <a:gd name="adj2" fmla="val 35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6896" tIns="56896" rIns="56896" bIns="56896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>
              <a:solidFill>
                <a:schemeClr val="tx1"/>
              </a:solidFill>
            </a:rPr>
            <a:t>Data-Level Fusion</a:t>
          </a:r>
        </a:p>
      </dsp:txBody>
      <dsp:txXfrm>
        <a:off x="4954539" y="2134"/>
        <a:ext cx="606521" cy="1000760"/>
      </dsp:txXfrm>
    </dsp:sp>
    <dsp:sp modelId="{D7F4FF65-DEEF-C74A-93F8-52B74E944D65}">
      <dsp:nvSpPr>
        <dsp:cNvPr id="0" name=""/>
        <dsp:cNvSpPr/>
      </dsp:nvSpPr>
      <dsp:spPr>
        <a:xfrm rot="3085714">
          <a:off x="5940242" y="622867"/>
          <a:ext cx="1213042" cy="1213042"/>
        </a:xfrm>
        <a:prstGeom prst="downArrow">
          <a:avLst>
            <a:gd name="adj1" fmla="val 50000"/>
            <a:gd name="adj2" fmla="val 35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6896" tIns="56896" rIns="56896" bIns="56896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>
              <a:solidFill>
                <a:schemeClr val="tx1"/>
              </a:solidFill>
            </a:rPr>
            <a:t>Feature-Level Fusion</a:t>
          </a:r>
        </a:p>
      </dsp:txBody>
      <dsp:txXfrm rot="-5400000">
        <a:off x="6129368" y="859950"/>
        <a:ext cx="1000760" cy="606521"/>
      </dsp:txXfrm>
    </dsp:sp>
    <dsp:sp modelId="{0DC5A541-D1C3-7846-B0ED-AD0ADEE3E598}">
      <dsp:nvSpPr>
        <dsp:cNvPr id="0" name=""/>
        <dsp:cNvSpPr/>
      </dsp:nvSpPr>
      <dsp:spPr>
        <a:xfrm rot="6171429">
          <a:off x="6258590" y="2017639"/>
          <a:ext cx="1213042" cy="1213042"/>
        </a:xfrm>
        <a:prstGeom prst="downArrow">
          <a:avLst>
            <a:gd name="adj1" fmla="val 50000"/>
            <a:gd name="adj2" fmla="val 35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6896" tIns="56896" rIns="56896" bIns="56896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>
              <a:solidFill>
                <a:schemeClr val="tx1"/>
              </a:solidFill>
            </a:rPr>
            <a:t>Decision-Level Fusion</a:t>
          </a:r>
        </a:p>
      </dsp:txBody>
      <dsp:txXfrm rot="-5400000">
        <a:off x="6468211" y="2344518"/>
        <a:ext cx="1000760" cy="606521"/>
      </dsp:txXfrm>
    </dsp:sp>
    <dsp:sp modelId="{517D0F23-083A-D64E-9ED5-34BFCFD81F2D}">
      <dsp:nvSpPr>
        <dsp:cNvPr id="0" name=""/>
        <dsp:cNvSpPr/>
      </dsp:nvSpPr>
      <dsp:spPr>
        <a:xfrm rot="9257143">
          <a:off x="5366599" y="3136160"/>
          <a:ext cx="1213042" cy="1213042"/>
        </a:xfrm>
        <a:prstGeom prst="downArrow">
          <a:avLst>
            <a:gd name="adj1" fmla="val 50000"/>
            <a:gd name="adj2" fmla="val 35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6896" tIns="56896" rIns="56896" bIns="56896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>
              <a:solidFill>
                <a:schemeClr val="tx1"/>
              </a:solidFill>
            </a:rPr>
            <a:t>State Estimation and Kalman Filtering</a:t>
          </a:r>
        </a:p>
      </dsp:txBody>
      <dsp:txXfrm rot="10800000">
        <a:off x="5715912" y="3337931"/>
        <a:ext cx="606521" cy="1000760"/>
      </dsp:txXfrm>
    </dsp:sp>
    <dsp:sp modelId="{1503FC0C-EC28-4947-BFF1-99290E7330DF}">
      <dsp:nvSpPr>
        <dsp:cNvPr id="0" name=""/>
        <dsp:cNvSpPr/>
      </dsp:nvSpPr>
      <dsp:spPr>
        <a:xfrm rot="12342857">
          <a:off x="3935957" y="3136160"/>
          <a:ext cx="1213042" cy="1213042"/>
        </a:xfrm>
        <a:prstGeom prst="downArrow">
          <a:avLst>
            <a:gd name="adj1" fmla="val 50000"/>
            <a:gd name="adj2" fmla="val 35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6896" tIns="56896" rIns="56896" bIns="56896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>
              <a:solidFill>
                <a:schemeClr val="tx1"/>
              </a:solidFill>
            </a:rPr>
            <a:t>Bayesian Approaches</a:t>
          </a:r>
        </a:p>
      </dsp:txBody>
      <dsp:txXfrm rot="10800000">
        <a:off x="4193164" y="3337931"/>
        <a:ext cx="606521" cy="1000760"/>
      </dsp:txXfrm>
    </dsp:sp>
    <dsp:sp modelId="{6DF06D2F-3932-7447-A70A-1AF64F86ED56}">
      <dsp:nvSpPr>
        <dsp:cNvPr id="0" name=""/>
        <dsp:cNvSpPr/>
      </dsp:nvSpPr>
      <dsp:spPr>
        <a:xfrm rot="15428571">
          <a:off x="3043967" y="2017639"/>
          <a:ext cx="1213042" cy="1213042"/>
        </a:xfrm>
        <a:prstGeom prst="downArrow">
          <a:avLst>
            <a:gd name="adj1" fmla="val 50000"/>
            <a:gd name="adj2" fmla="val 35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6896" tIns="56896" rIns="56896" bIns="56896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>
              <a:solidFill>
                <a:schemeClr val="tx1"/>
              </a:solidFill>
            </a:rPr>
            <a:t>Fuzzy Logic</a:t>
          </a:r>
        </a:p>
      </dsp:txBody>
      <dsp:txXfrm rot="5400000">
        <a:off x="3046629" y="2344517"/>
        <a:ext cx="1000760" cy="606521"/>
      </dsp:txXfrm>
    </dsp:sp>
    <dsp:sp modelId="{84D88DB1-5863-5D43-9578-C94E821E652C}">
      <dsp:nvSpPr>
        <dsp:cNvPr id="0" name=""/>
        <dsp:cNvSpPr/>
      </dsp:nvSpPr>
      <dsp:spPr>
        <a:xfrm rot="18514286">
          <a:off x="3362314" y="622867"/>
          <a:ext cx="1213042" cy="1213042"/>
        </a:xfrm>
        <a:prstGeom prst="downArrow">
          <a:avLst>
            <a:gd name="adj1" fmla="val 50000"/>
            <a:gd name="adj2" fmla="val 35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6896" tIns="56896" rIns="56896" bIns="56896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>
              <a:solidFill>
                <a:schemeClr val="tx1"/>
              </a:solidFill>
            </a:rPr>
            <a:t>Machine Learning Based Fusion</a:t>
          </a:r>
        </a:p>
      </dsp:txBody>
      <dsp:txXfrm rot="5400000">
        <a:off x="3385471" y="859949"/>
        <a:ext cx="1000760" cy="60652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6371E30-5436-4D82-8BD5-5AB3CC0584E4}">
      <dsp:nvSpPr>
        <dsp:cNvPr id="0" name=""/>
        <dsp:cNvSpPr/>
      </dsp:nvSpPr>
      <dsp:spPr>
        <a:xfrm>
          <a:off x="0" y="1674"/>
          <a:ext cx="10515600" cy="78528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677B30D-0294-44C5-88DF-AFDC860BA992}">
      <dsp:nvSpPr>
        <dsp:cNvPr id="0" name=""/>
        <dsp:cNvSpPr/>
      </dsp:nvSpPr>
      <dsp:spPr>
        <a:xfrm>
          <a:off x="237547" y="178362"/>
          <a:ext cx="431904" cy="431904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E6407E0-31BD-404F-B8C9-5D04D2F776EE}">
      <dsp:nvSpPr>
        <dsp:cNvPr id="0" name=""/>
        <dsp:cNvSpPr/>
      </dsp:nvSpPr>
      <dsp:spPr>
        <a:xfrm>
          <a:off x="906999" y="1674"/>
          <a:ext cx="9608600" cy="785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109" tIns="83109" rIns="83109" bIns="83109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Description: Combines raw sensor data without preprocessing.</a:t>
          </a:r>
        </a:p>
      </dsp:txBody>
      <dsp:txXfrm>
        <a:off x="906999" y="1674"/>
        <a:ext cx="9608600" cy="785280"/>
      </dsp:txXfrm>
    </dsp:sp>
    <dsp:sp modelId="{C4A00BA8-C5F9-4163-8F14-E51147C8DBD4}">
      <dsp:nvSpPr>
        <dsp:cNvPr id="0" name=""/>
        <dsp:cNvSpPr/>
      </dsp:nvSpPr>
      <dsp:spPr>
        <a:xfrm>
          <a:off x="0" y="983275"/>
          <a:ext cx="10515600" cy="1403186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92223FC-8466-4D30-9677-871C17680F22}">
      <dsp:nvSpPr>
        <dsp:cNvPr id="0" name=""/>
        <dsp:cNvSpPr/>
      </dsp:nvSpPr>
      <dsp:spPr>
        <a:xfrm>
          <a:off x="237547" y="1468916"/>
          <a:ext cx="431904" cy="431904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8046F98-526A-44CC-B572-F3FA8983A722}">
      <dsp:nvSpPr>
        <dsp:cNvPr id="0" name=""/>
        <dsp:cNvSpPr/>
      </dsp:nvSpPr>
      <dsp:spPr>
        <a:xfrm>
          <a:off x="906999" y="990464"/>
          <a:ext cx="9608600" cy="13888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109" tIns="83109" rIns="83109" bIns="83109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Techniques:                                                                   </a:t>
          </a:r>
        </a:p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 Adaptive weighting: Real-time error reduction and </a:t>
          </a:r>
        </a:p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Support degree: Reliability through proximity-based measures</a:t>
          </a:r>
        </a:p>
      </dsp:txBody>
      <dsp:txXfrm>
        <a:off x="906999" y="990464"/>
        <a:ext cx="9608600" cy="1388807"/>
      </dsp:txXfrm>
    </dsp:sp>
    <dsp:sp modelId="{39F92726-F513-4D8E-8544-E8D5D714A8C8}">
      <dsp:nvSpPr>
        <dsp:cNvPr id="0" name=""/>
        <dsp:cNvSpPr/>
      </dsp:nvSpPr>
      <dsp:spPr>
        <a:xfrm>
          <a:off x="0" y="2582781"/>
          <a:ext cx="10515600" cy="78528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B81FED1-CE9B-4FCF-B623-3BA2192A70F4}">
      <dsp:nvSpPr>
        <dsp:cNvPr id="0" name=""/>
        <dsp:cNvSpPr/>
      </dsp:nvSpPr>
      <dsp:spPr>
        <a:xfrm>
          <a:off x="237547" y="2759470"/>
          <a:ext cx="431904" cy="431904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36431E2-14A0-40A2-80FD-D384BAB15F1F}">
      <dsp:nvSpPr>
        <dsp:cNvPr id="0" name=""/>
        <dsp:cNvSpPr/>
      </dsp:nvSpPr>
      <dsp:spPr>
        <a:xfrm>
          <a:off x="906999" y="2582781"/>
          <a:ext cx="9608600" cy="785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109" tIns="83109" rIns="83109" bIns="83109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Advantages: Enhanced accuracy, noise robustness.</a:t>
          </a:r>
        </a:p>
      </dsp:txBody>
      <dsp:txXfrm>
        <a:off x="906999" y="2582781"/>
        <a:ext cx="9608600" cy="785280"/>
      </dsp:txXfrm>
    </dsp:sp>
    <dsp:sp modelId="{E277F286-8FC4-492F-91CB-A21B6895A10F}">
      <dsp:nvSpPr>
        <dsp:cNvPr id="0" name=""/>
        <dsp:cNvSpPr/>
      </dsp:nvSpPr>
      <dsp:spPr>
        <a:xfrm>
          <a:off x="0" y="3564382"/>
          <a:ext cx="10515600" cy="78528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D44838F-19DD-4E5D-9056-4A2DCEDAE659}">
      <dsp:nvSpPr>
        <dsp:cNvPr id="0" name=""/>
        <dsp:cNvSpPr/>
      </dsp:nvSpPr>
      <dsp:spPr>
        <a:xfrm>
          <a:off x="237547" y="3741070"/>
          <a:ext cx="431904" cy="431904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8FC6ABE-63E6-448E-AE17-07196650FDF2}">
      <dsp:nvSpPr>
        <dsp:cNvPr id="0" name=""/>
        <dsp:cNvSpPr/>
      </dsp:nvSpPr>
      <dsp:spPr>
        <a:xfrm>
          <a:off x="906999" y="3564382"/>
          <a:ext cx="9608600" cy="785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109" tIns="83109" rIns="83109" bIns="83109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Challenges: High computational overhead, parameter sensitivity.</a:t>
          </a:r>
        </a:p>
      </dsp:txBody>
      <dsp:txXfrm>
        <a:off x="906999" y="3564382"/>
        <a:ext cx="9608600" cy="78528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235BC09-A833-A84A-A8AF-458A7DB054EB}">
      <dsp:nvSpPr>
        <dsp:cNvPr id="0" name=""/>
        <dsp:cNvSpPr/>
      </dsp:nvSpPr>
      <dsp:spPr>
        <a:xfrm>
          <a:off x="0" y="1080567"/>
          <a:ext cx="2957512" cy="187802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16D49E2-B6BD-7E40-87A8-4A0F9A53392B}">
      <dsp:nvSpPr>
        <dsp:cNvPr id="0" name=""/>
        <dsp:cNvSpPr/>
      </dsp:nvSpPr>
      <dsp:spPr>
        <a:xfrm>
          <a:off x="328612" y="1392749"/>
          <a:ext cx="2957512" cy="187802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b="1" kern="1200"/>
            <a:t>Description:</a:t>
          </a:r>
          <a:r>
            <a:rPr lang="en-US" sz="2600" kern="1200"/>
            <a:t> Extracts features from sensor data and merges them.</a:t>
          </a:r>
        </a:p>
      </dsp:txBody>
      <dsp:txXfrm>
        <a:off x="383617" y="1447754"/>
        <a:ext cx="2847502" cy="1768010"/>
      </dsp:txXfrm>
    </dsp:sp>
    <dsp:sp modelId="{272F2676-40DB-C04B-BA7E-A10EFDFE401F}">
      <dsp:nvSpPr>
        <dsp:cNvPr id="0" name=""/>
        <dsp:cNvSpPr/>
      </dsp:nvSpPr>
      <dsp:spPr>
        <a:xfrm>
          <a:off x="3614737" y="1080567"/>
          <a:ext cx="2957512" cy="187802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B02E4B2-AEDE-CD4C-811D-A0FEB927AF2D}">
      <dsp:nvSpPr>
        <dsp:cNvPr id="0" name=""/>
        <dsp:cNvSpPr/>
      </dsp:nvSpPr>
      <dsp:spPr>
        <a:xfrm>
          <a:off x="3943350" y="1392749"/>
          <a:ext cx="2957512" cy="187802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/>
            <a:t>Advantages: Noise reduction, scalability.</a:t>
          </a:r>
        </a:p>
      </dsp:txBody>
      <dsp:txXfrm>
        <a:off x="3998355" y="1447754"/>
        <a:ext cx="2847502" cy="1768010"/>
      </dsp:txXfrm>
    </dsp:sp>
    <dsp:sp modelId="{2A803E04-7F13-6E44-99AE-9E3D315341ED}">
      <dsp:nvSpPr>
        <dsp:cNvPr id="0" name=""/>
        <dsp:cNvSpPr/>
      </dsp:nvSpPr>
      <dsp:spPr>
        <a:xfrm>
          <a:off x="7229475" y="1080567"/>
          <a:ext cx="2957512" cy="187802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5F241E7-5102-0B4F-88DF-C951E5BF5F63}">
      <dsp:nvSpPr>
        <dsp:cNvPr id="0" name=""/>
        <dsp:cNvSpPr/>
      </dsp:nvSpPr>
      <dsp:spPr>
        <a:xfrm>
          <a:off x="7558087" y="1392749"/>
          <a:ext cx="2957512" cy="187802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/>
            <a:t>Challenges: Feature compatibility, dimensionality issues.</a:t>
          </a:r>
        </a:p>
      </dsp:txBody>
      <dsp:txXfrm>
        <a:off x="7613092" y="1447754"/>
        <a:ext cx="2847502" cy="176801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DB15D7C-96F4-4159-A08F-D6C4A633E939}">
      <dsp:nvSpPr>
        <dsp:cNvPr id="0" name=""/>
        <dsp:cNvSpPr/>
      </dsp:nvSpPr>
      <dsp:spPr>
        <a:xfrm>
          <a:off x="704911" y="510931"/>
          <a:ext cx="647841" cy="647841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7DBDE11-739F-4143-B87D-C8497308DCE5}">
      <dsp:nvSpPr>
        <dsp:cNvPr id="0" name=""/>
        <dsp:cNvSpPr/>
      </dsp:nvSpPr>
      <dsp:spPr>
        <a:xfrm>
          <a:off x="309008" y="1419853"/>
          <a:ext cx="1439648" cy="57585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1. Data Acquisition </a:t>
          </a:r>
        </a:p>
      </dsp:txBody>
      <dsp:txXfrm>
        <a:off x="309008" y="1419853"/>
        <a:ext cx="1439648" cy="575859"/>
      </dsp:txXfrm>
    </dsp:sp>
    <dsp:sp modelId="{6263B3C6-DA98-4062-B76C-C44A9C3E3656}">
      <dsp:nvSpPr>
        <dsp:cNvPr id="0" name=""/>
        <dsp:cNvSpPr/>
      </dsp:nvSpPr>
      <dsp:spPr>
        <a:xfrm>
          <a:off x="2396498" y="510931"/>
          <a:ext cx="647841" cy="647841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46000" r="-46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8CEDB86-954A-4904-8193-5D4200E232D2}">
      <dsp:nvSpPr>
        <dsp:cNvPr id="0" name=""/>
        <dsp:cNvSpPr/>
      </dsp:nvSpPr>
      <dsp:spPr>
        <a:xfrm>
          <a:off x="2000595" y="1419853"/>
          <a:ext cx="1439648" cy="57585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2. Preprocessing </a:t>
          </a:r>
        </a:p>
      </dsp:txBody>
      <dsp:txXfrm>
        <a:off x="2000595" y="1419853"/>
        <a:ext cx="1439648" cy="575859"/>
      </dsp:txXfrm>
    </dsp:sp>
    <dsp:sp modelId="{242EC22F-DEF0-4976-A8BF-04E2917E300F}">
      <dsp:nvSpPr>
        <dsp:cNvPr id="0" name=""/>
        <dsp:cNvSpPr/>
      </dsp:nvSpPr>
      <dsp:spPr>
        <a:xfrm>
          <a:off x="4088085" y="510931"/>
          <a:ext cx="647841" cy="647841"/>
        </a:xfrm>
        <a:prstGeom prst="rect">
          <a:avLst/>
        </a:prstGeom>
        <a:blipFill>
          <a:blip xmlns:r="http://schemas.openxmlformats.org/officeDocument/2006/relationships"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BDA1105-B3FA-4831-8AA7-2B6CC5C80F61}">
      <dsp:nvSpPr>
        <dsp:cNvPr id="0" name=""/>
        <dsp:cNvSpPr/>
      </dsp:nvSpPr>
      <dsp:spPr>
        <a:xfrm>
          <a:off x="3692182" y="1419853"/>
          <a:ext cx="1439648" cy="57585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3. Local Analysis </a:t>
          </a:r>
        </a:p>
      </dsp:txBody>
      <dsp:txXfrm>
        <a:off x="3692182" y="1419853"/>
        <a:ext cx="1439648" cy="575859"/>
      </dsp:txXfrm>
    </dsp:sp>
    <dsp:sp modelId="{EE1A13BF-AA33-41D3-AFA0-01CDF58600C9}">
      <dsp:nvSpPr>
        <dsp:cNvPr id="0" name=""/>
        <dsp:cNvSpPr/>
      </dsp:nvSpPr>
      <dsp:spPr>
        <a:xfrm>
          <a:off x="5779672" y="510931"/>
          <a:ext cx="647841" cy="647841"/>
        </a:xfrm>
        <a:prstGeom prst="rect">
          <a:avLst/>
        </a:prstGeom>
        <a:blipFill>
          <a:blip xmlns:r="http://schemas.openxmlformats.org/officeDocument/2006/relationships"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E94C270-7933-4ADA-8B99-565A540198C5}">
      <dsp:nvSpPr>
        <dsp:cNvPr id="0" name=""/>
        <dsp:cNvSpPr/>
      </dsp:nvSpPr>
      <dsp:spPr>
        <a:xfrm>
          <a:off x="5383769" y="1419853"/>
          <a:ext cx="1439648" cy="57585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4. Decision Collection</a:t>
          </a:r>
        </a:p>
      </dsp:txBody>
      <dsp:txXfrm>
        <a:off x="5383769" y="1419853"/>
        <a:ext cx="1439648" cy="575859"/>
      </dsp:txXfrm>
    </dsp:sp>
    <dsp:sp modelId="{DE05898D-53C4-428C-B688-84EBA785F0CF}">
      <dsp:nvSpPr>
        <dsp:cNvPr id="0" name=""/>
        <dsp:cNvSpPr/>
      </dsp:nvSpPr>
      <dsp:spPr>
        <a:xfrm>
          <a:off x="7471259" y="510931"/>
          <a:ext cx="647841" cy="647841"/>
        </a:xfrm>
        <a:prstGeom prst="rect">
          <a:avLst/>
        </a:prstGeom>
        <a:blipFill>
          <a:blip xmlns:r="http://schemas.openxmlformats.org/officeDocument/2006/relationships"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5DE5D96-689F-402C-947C-92B757715DC0}">
      <dsp:nvSpPr>
        <dsp:cNvPr id="0" name=""/>
        <dsp:cNvSpPr/>
      </dsp:nvSpPr>
      <dsp:spPr>
        <a:xfrm>
          <a:off x="7075356" y="1419853"/>
          <a:ext cx="1439648" cy="57585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5. Decision Fusion </a:t>
          </a:r>
        </a:p>
      </dsp:txBody>
      <dsp:txXfrm>
        <a:off x="7075356" y="1419853"/>
        <a:ext cx="1439648" cy="575859"/>
      </dsp:txXfrm>
    </dsp:sp>
    <dsp:sp modelId="{A8C30068-B1A7-4BEE-A31E-08BD151F1548}">
      <dsp:nvSpPr>
        <dsp:cNvPr id="0" name=""/>
        <dsp:cNvSpPr/>
      </dsp:nvSpPr>
      <dsp:spPr>
        <a:xfrm>
          <a:off x="9162846" y="510931"/>
          <a:ext cx="647841" cy="647841"/>
        </a:xfrm>
        <a:prstGeom prst="rect">
          <a:avLst/>
        </a:prstGeom>
        <a:blipFill>
          <a:blip xmlns:r="http://schemas.openxmlformats.org/officeDocument/2006/relationships"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54E09C5-E5A5-4125-B332-52AE5D15169D}">
      <dsp:nvSpPr>
        <dsp:cNvPr id="0" name=""/>
        <dsp:cNvSpPr/>
      </dsp:nvSpPr>
      <dsp:spPr>
        <a:xfrm>
          <a:off x="8766943" y="1419853"/>
          <a:ext cx="1439648" cy="57585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6. Final Decision Making </a:t>
          </a:r>
        </a:p>
      </dsp:txBody>
      <dsp:txXfrm>
        <a:off x="8766943" y="1419853"/>
        <a:ext cx="1439648" cy="575859"/>
      </dsp:txXfrm>
    </dsp:sp>
    <dsp:sp modelId="{FCA9970C-B58C-4F13-9FDC-9754859702DC}">
      <dsp:nvSpPr>
        <dsp:cNvPr id="0" name=""/>
        <dsp:cNvSpPr/>
      </dsp:nvSpPr>
      <dsp:spPr>
        <a:xfrm>
          <a:off x="4933879" y="2355625"/>
          <a:ext cx="647841" cy="647841"/>
        </a:xfrm>
        <a:prstGeom prst="rect">
          <a:avLst/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7CE0520-6A03-4C2D-86F9-4C3F94E43748}">
      <dsp:nvSpPr>
        <dsp:cNvPr id="0" name=""/>
        <dsp:cNvSpPr/>
      </dsp:nvSpPr>
      <dsp:spPr>
        <a:xfrm>
          <a:off x="4356205" y="1882317"/>
          <a:ext cx="1439648" cy="57585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700" kern="1200" dirty="0"/>
        </a:p>
      </dsp:txBody>
      <dsp:txXfrm>
        <a:off x="4356205" y="1882317"/>
        <a:ext cx="1439648" cy="575859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311617A-29A3-4955-BE5F-6FAD4CABBC5E}">
      <dsp:nvSpPr>
        <dsp:cNvPr id="0" name=""/>
        <dsp:cNvSpPr/>
      </dsp:nvSpPr>
      <dsp:spPr>
        <a:xfrm>
          <a:off x="82613" y="1727046"/>
          <a:ext cx="897246" cy="897246"/>
        </a:xfrm>
        <a:prstGeom prst="ellipse">
          <a:avLst/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C8A7BC0-D0C8-4F8E-B831-3BD54EDFCAB5}">
      <dsp:nvSpPr>
        <dsp:cNvPr id="0" name=""/>
        <dsp:cNvSpPr/>
      </dsp:nvSpPr>
      <dsp:spPr>
        <a:xfrm>
          <a:off x="271034" y="1915467"/>
          <a:ext cx="520402" cy="520402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8D600CA-E350-492D-8E5C-075DC6E84B29}">
      <dsp:nvSpPr>
        <dsp:cNvPr id="0" name=""/>
        <dsp:cNvSpPr/>
      </dsp:nvSpPr>
      <dsp:spPr>
        <a:xfrm>
          <a:off x="1172126" y="1727046"/>
          <a:ext cx="2114937" cy="89724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For real-time, dynamic systems: </a:t>
          </a:r>
          <a:r>
            <a:rPr lang="en-US" sz="1800" b="1" kern="1200"/>
            <a:t>Kalman Filtering</a:t>
          </a:r>
          <a:r>
            <a:rPr lang="en-US" sz="1800" kern="1200"/>
            <a:t>.</a:t>
          </a:r>
        </a:p>
      </dsp:txBody>
      <dsp:txXfrm>
        <a:off x="1172126" y="1727046"/>
        <a:ext cx="2114937" cy="897246"/>
      </dsp:txXfrm>
    </dsp:sp>
    <dsp:sp modelId="{0744133F-FA08-4866-B635-DDDDB662925C}">
      <dsp:nvSpPr>
        <dsp:cNvPr id="0" name=""/>
        <dsp:cNvSpPr/>
      </dsp:nvSpPr>
      <dsp:spPr>
        <a:xfrm>
          <a:off x="3655575" y="1727046"/>
          <a:ext cx="897246" cy="897246"/>
        </a:xfrm>
        <a:prstGeom prst="ellipse">
          <a:avLst/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F92C95D-49A6-47FB-8F68-8431C8F56EC7}">
      <dsp:nvSpPr>
        <dsp:cNvPr id="0" name=""/>
        <dsp:cNvSpPr/>
      </dsp:nvSpPr>
      <dsp:spPr>
        <a:xfrm>
          <a:off x="3843996" y="1915467"/>
          <a:ext cx="520402" cy="520402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999595A-DB30-47C2-968A-F86C170E233C}">
      <dsp:nvSpPr>
        <dsp:cNvPr id="0" name=""/>
        <dsp:cNvSpPr/>
      </dsp:nvSpPr>
      <dsp:spPr>
        <a:xfrm>
          <a:off x="4745088" y="1727046"/>
          <a:ext cx="2114937" cy="89724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For uncertainty management: </a:t>
          </a:r>
          <a:r>
            <a:rPr lang="en-US" sz="1800" b="1" kern="1200"/>
            <a:t>Bayesian Approaches</a:t>
          </a:r>
          <a:r>
            <a:rPr lang="en-US" sz="1800" kern="1200"/>
            <a:t>.</a:t>
          </a:r>
        </a:p>
      </dsp:txBody>
      <dsp:txXfrm>
        <a:off x="4745088" y="1727046"/>
        <a:ext cx="2114937" cy="897246"/>
      </dsp:txXfrm>
    </dsp:sp>
    <dsp:sp modelId="{9C6D9AEA-FCB7-428B-AD39-B94C42AD1002}">
      <dsp:nvSpPr>
        <dsp:cNvPr id="0" name=""/>
        <dsp:cNvSpPr/>
      </dsp:nvSpPr>
      <dsp:spPr>
        <a:xfrm>
          <a:off x="7228536" y="1727046"/>
          <a:ext cx="897246" cy="897246"/>
        </a:xfrm>
        <a:prstGeom prst="ellipse">
          <a:avLst/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E2A3E28-2DF6-412D-95F7-2285E25F42F2}">
      <dsp:nvSpPr>
        <dsp:cNvPr id="0" name=""/>
        <dsp:cNvSpPr/>
      </dsp:nvSpPr>
      <dsp:spPr>
        <a:xfrm>
          <a:off x="7416958" y="1915467"/>
          <a:ext cx="520402" cy="520402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D1A6432-AE9B-48FD-81E1-1CBEF042C8B7}">
      <dsp:nvSpPr>
        <dsp:cNvPr id="0" name=""/>
        <dsp:cNvSpPr/>
      </dsp:nvSpPr>
      <dsp:spPr>
        <a:xfrm>
          <a:off x="8318049" y="1727046"/>
          <a:ext cx="2114937" cy="89724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For ambiguous data: </a:t>
          </a:r>
          <a:r>
            <a:rPr lang="en-US" sz="1800" b="1" kern="1200"/>
            <a:t>Fuzzy Logic</a:t>
          </a:r>
          <a:r>
            <a:rPr lang="en-US" sz="1800" kern="1200"/>
            <a:t>.</a:t>
          </a:r>
        </a:p>
      </dsp:txBody>
      <dsp:txXfrm>
        <a:off x="8318049" y="1727046"/>
        <a:ext cx="2114937" cy="89724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CircleList">
  <dgm:title val="Icon Circle List"/>
  <dgm:desc val="Use to show non-sequential or grouped chunks of information accompanied by related visuals. Circular shapes can hold an icon or small picture and corresponding text box shows Level 1 text. Works best for icons or small pictures with medium-length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alg type="sp"/>
    <dgm:shape xmlns:r="http://schemas.openxmlformats.org/officeDocument/2006/relationships" r:blip="">
      <dgm:adjLst/>
    </dgm:shape>
    <dgm:presOf/>
    <dgm:choose name="Name0">
      <dgm:if name="Name1" axis="ch" ptType="node" func="cnt" op="lte" val="3">
        <dgm:constrLst>
          <dgm:constr type="w" for="ch" forName="container" refType="w"/>
          <dgm:constr type="h" for="ch" forName="container" refType="h" fact="0.4"/>
        </dgm:constrLst>
      </dgm:if>
      <dgm:else name="Name2">
        <dgm:constrLst>
          <dgm:constr type="w" for="ch" forName="container" refType="w"/>
          <dgm:constr type="h" for="ch" forName="container" refType="h"/>
        </dgm:constrLst>
      </dgm:else>
    </dgm:choose>
    <dgm:ruleLst>
      <dgm:rule type="h" for="ch" forName="container" val="INF" fact="NaN" max="NaN"/>
    </dgm:ruleLst>
    <dgm:layoutNode name="container">
      <dgm:varLst>
        <dgm:dir/>
        <dgm:resizeHandles val="exact"/>
      </dgm:varLst>
      <dgm:choose name="Name3">
        <dgm:if name="Name4" axis="self" func="var" arg="dir" op="equ" val="norm">
          <dgm:alg type="snake">
            <dgm:param type="grDir" val="tL"/>
            <dgm:param type="flowDir" val="row"/>
            <dgm:param type="contDir" val="sameDir"/>
          </dgm:alg>
        </dgm:if>
        <dgm:else name="Name5">
          <dgm:alg type="snake">
            <dgm:param type="grDir" val="tR"/>
            <dgm:param type="flowDir" val="row"/>
            <dgm:param type="contDir" val="sameDi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w" fact="0.28"/>
        <dgm:constr type="w" for="ch" forName="sibTrans" refType="w" refFor="ch" refForName="compNode" fact="0.115"/>
        <dgm:constr type="sp" refType="h" op="equ" fact="0.17"/>
        <dgm:constr type="primFontSz" for="des" ptType="node" op="equ" val="24"/>
        <dgm:constr type="h" for="des" forName="compNode" op="equ"/>
        <dgm:constr type="h" for="des" forName="iconBgRect" op="equ"/>
      </dgm:constrLst>
      <dgm:ruleLst>
        <dgm:rule type="w" for="ch" forName="compNode" val="60" fact="NaN" max="NaN"/>
      </dgm:ruleLst>
      <dgm:forEach name="Name6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 axis="self"/>
          <dgm:constrLst>
            <dgm:constr type="w" for="ch" forName="iconBgRect" refType="w" fact="0.28"/>
            <dgm:constr type="h" for="ch" forName="iconBgRect" refType="w" refFor="ch" refForName="iconBgRect"/>
            <dgm:constr type="t" for="ch" forName="iconBgRect"/>
            <dgm:constr type="l" for="ch" forName="iconBgRect"/>
            <dgm:constr type="w" for="ch" forName="iconRect" refType="w" refFor="ch" refForName="iconBgRect" fact="0.58"/>
            <dgm:constr type="h" for="ch" forName="iconRect" refType="w" refFor="ch" refForName="iconRect"/>
            <dgm:constr type="ctrX" for="ch" forName="iconRect" refType="ctrX" refFor="ch" refForName="iconBgRect"/>
            <dgm:constr type="ctrY" for="ch" forName="iconRect" refType="ctrY" refFor="ch" refForName="iconBgRect"/>
            <dgm:constr type="w" for="ch" forName="spaceRect" refType="w" fact="0.06"/>
            <dgm:constr type="h" for="ch" forName="spaceRect" refType="h" refFor="ch" refForName="iconBgRect"/>
            <dgm:constr type="t" for="ch" forName="spaceRect" refType="t" refFor="ch" refForName="iconBgRect"/>
            <dgm:constr type="l" for="ch" forName="spaceRect" refType="r" refFor="ch" refForName="iconBgRect"/>
            <dgm:constr type="h" for="ch" forName="textRect" refType="h" refFor="ch" refForName="iconBgRect"/>
            <dgm:constr type="t" for="ch" forName="textRect" refType="t" refFor="ch" refForName="iconBgRect"/>
            <dgm:constr type="l" for="ch" forName="textRect" refType="r" refFor="ch" refForName="spaceRect"/>
          </dgm:constrLst>
          <dgm:ruleLst/>
          <dgm:layoutNode name="iconBgRect" styleLbl="bgShp">
            <dgm:alg type="sp"/>
            <dgm:shape xmlns:r="http://schemas.openxmlformats.org/officeDocument/2006/relationships" type="ellipse" r:blip="">
              <dgm:adjLst/>
            </dgm:shape>
            <dgm:presOf/>
            <dgm:constrLst/>
            <dgm:ruleLst/>
          </dgm:layoutNode>
          <dgm:layoutNode name="iconRect" styleLbl="node1">
            <dgm:alg type="sp"/>
            <dgm:shape xmlns:r="http://schemas.openxmlformats.org/officeDocument/2006/relationships" type="rect" r:blip="" blipPhldr="1">
              <dgm:adjLst/>
            </dgm:shape>
            <dgm:presOf/>
            <dgm:constrLst/>
            <dgm:ruleLst/>
          </dgm:layoutNode>
          <dgm:layoutNode name="spaceRect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textRect" styleLbl="revTx">
            <dgm:varLst>
              <dgm:chMax val="1"/>
              <dgm:chPref val="1"/>
            </dgm:varLst>
            <dgm:choose name="Name7">
              <dgm:if name="Name8" func="var" arg="dir" op="equ" val="norm">
                <dgm:alg type="tx">
                  <dgm:param type="txAnchorVert" val="mid"/>
                  <dgm:param type="parTxLTRAlign" val="l"/>
                  <dgm:param type="shpTxLTRAlignCh" val="l"/>
                  <dgm:param type="parTxRTLAlign" val="l"/>
                  <dgm:param type="shpTxRTLAlignCh" val="l"/>
                </dgm:alg>
              </dgm:if>
              <dgm:else name="Name9">
                <dgm:alg type="tx">
                  <dgm:param type="txAnchorVert" val="mid"/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11" fact="NaN" max="NaN"/>
            </dgm:ruleLst>
          </dgm:layoutNode>
        </dgm:layoutNode>
        <dgm:forEach name="Name10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arrow5">
  <dgm:title val=""/>
  <dgm:desc val=""/>
  <dgm:catLst>
    <dgm:cat type="relationship" pri="6000"/>
    <dgm:cat type="process" pri="3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4" srcId="0" destId="1" srcOrd="0" destOrd="0"/>
        <dgm:cxn modelId="5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ch" ptType="node" func="cnt" op="equ" val="2">
        <dgm:choose name="Name2">
          <dgm:if name="Name3" func="var" arg="dir" op="equ" val="norm">
            <dgm:alg type="cycle">
              <dgm:param type="rotPath" val="alongPath"/>
              <dgm:param type="stAng" val="270"/>
            </dgm:alg>
          </dgm:if>
          <dgm:else name="Name4">
            <dgm:alg type="cycle">
              <dgm:param type="rotPath" val="alongPath"/>
              <dgm:param type="stAng" val="90"/>
              <dgm:param type="spanAng" val="-360"/>
            </dgm:alg>
          </dgm:else>
        </dgm:choose>
      </dgm:if>
      <dgm:else name="Name5">
        <dgm:choose name="Name6">
          <dgm:if name="Name7" func="var" arg="dir" op="equ" val="norm">
            <dgm:alg type="cycle">
              <dgm:param type="rotPath" val="alongPath"/>
            </dgm:alg>
          </dgm:if>
          <dgm:else name="Name8">
            <dgm:alg type="cycle">
              <dgm:param type="rotPath" val="alongPath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lte" val="2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0.1"/>
          <dgm:constr type="sibSp" refType="h" op="lte" fact="0.1"/>
          <dgm:constr type="diam" refType="w" refFor="ch" refPtType="node" op="equ" fact="1.1"/>
        </dgm:constrLst>
      </dgm:if>
      <dgm:if name="Name11" axis="ch" ptType="node" func="cnt" op="equ" val="5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2"/>
          <dgm:constr type="sibSp" refType="h" op="lte" fact="0.1"/>
        </dgm:constrLst>
      </dgm:if>
      <dgm:if name="Name12" axis="ch" ptType="node" func="cnt" op="equ" val="6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if name="Name13" axis="ch" ptType="node" func="cnt" op="equ" val="7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if name="Name14" axis="ch" ptType="node" func="cnt" op="equ" val="8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/>
          <dgm:constr type="sibSp" refType="h" op="lte" fact="0.1"/>
        </dgm:constrLst>
      </dgm:if>
      <dgm:if name="Name15" axis="ch" ptType="node" func="cnt" op="gte" val="9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else name="Name16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35"/>
        </dgm:constrLst>
      </dgm:else>
    </dgm:choose>
    <dgm:ruleLst/>
    <dgm:forEach name="Name17" axis="ch" ptType="node">
      <dgm:layoutNode name="arrow">
        <dgm:varLst>
          <dgm:bulletEnabled val="1"/>
        </dgm:varLst>
        <dgm:alg type="tx"/>
        <dgm:shape xmlns:r="http://schemas.openxmlformats.org/officeDocument/2006/relationships" type="downArrow" r:blip="">
          <dgm:adjLst>
            <dgm:adj idx="2" val="0.35"/>
          </dgm:adjLst>
        </dgm:shape>
        <dgm:presOf axis="desOrSelf" ptType="node"/>
        <dgm:constrLst/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18/2/layout/IconLabelList">
  <dgm:title val="Icon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2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50"/>
          <dgm:constr type="h" for="des" forName="compNode" op="equ"/>
          <dgm:constr type="h" for="des" forName="textRect" op="equ"/>
        </dgm:constrLst>
      </dgm:if>
      <dgm:if name="Name5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6"/>
          <dgm:constr type="h" for="des" forName="compNode" op="equ"/>
          <dgm:constr type="h" for="des" forName="textRect" op="equ"/>
        </dgm:constrLst>
      </dgm:if>
      <dgm:else name="Name6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7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4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h" for="ch" forName="spaceRect" refType="h" fact="0.15"/>
          <dgm:constr type="w" for="ch" forName="spaceRect" refType="w"/>
          <dgm:constr type="l" for="ch" forName="spaceRect"/>
          <dgm:constr type="t" for="ch" forName="spaceRect" refType="b" refFor="ch" refForName="icon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8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18/2/layout/IconCircleList">
  <dgm:title val="Icon Circle List"/>
  <dgm:desc val="Use to show non-sequential or grouped chunks of information accompanied by related visuals. Circular shapes can hold an icon or small picture and corresponding text box shows Level 1 text. Works best for icons or small pictures with medium-length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alg type="sp"/>
    <dgm:shape xmlns:r="http://schemas.openxmlformats.org/officeDocument/2006/relationships" r:blip="">
      <dgm:adjLst/>
    </dgm:shape>
    <dgm:presOf/>
    <dgm:choose name="Name0">
      <dgm:if name="Name1" axis="ch" ptType="node" func="cnt" op="lte" val="3">
        <dgm:constrLst>
          <dgm:constr type="w" for="ch" forName="container" refType="w"/>
          <dgm:constr type="h" for="ch" forName="container" refType="h" fact="0.4"/>
        </dgm:constrLst>
      </dgm:if>
      <dgm:else name="Name2">
        <dgm:constrLst>
          <dgm:constr type="w" for="ch" forName="container" refType="w"/>
          <dgm:constr type="h" for="ch" forName="container" refType="h"/>
        </dgm:constrLst>
      </dgm:else>
    </dgm:choose>
    <dgm:ruleLst>
      <dgm:rule type="h" for="ch" forName="container" val="INF" fact="NaN" max="NaN"/>
    </dgm:ruleLst>
    <dgm:layoutNode name="container">
      <dgm:varLst>
        <dgm:dir/>
        <dgm:resizeHandles val="exact"/>
      </dgm:varLst>
      <dgm:choose name="Name3">
        <dgm:if name="Name4" axis="self" func="var" arg="dir" op="equ" val="norm">
          <dgm:alg type="snake">
            <dgm:param type="grDir" val="tL"/>
            <dgm:param type="flowDir" val="row"/>
            <dgm:param type="contDir" val="sameDir"/>
          </dgm:alg>
        </dgm:if>
        <dgm:else name="Name5">
          <dgm:alg type="snake">
            <dgm:param type="grDir" val="tR"/>
            <dgm:param type="flowDir" val="row"/>
            <dgm:param type="contDir" val="sameDi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w" fact="0.28"/>
        <dgm:constr type="w" for="ch" forName="sibTrans" refType="w" refFor="ch" refForName="compNode" fact="0.115"/>
        <dgm:constr type="sp" refType="h" op="equ" fact="0.17"/>
        <dgm:constr type="primFontSz" for="des" ptType="node" op="equ" val="24"/>
        <dgm:constr type="h" for="des" forName="compNode" op="equ"/>
        <dgm:constr type="h" for="des" forName="iconBgRect" op="equ"/>
      </dgm:constrLst>
      <dgm:ruleLst>
        <dgm:rule type="w" for="ch" forName="compNode" val="60" fact="NaN" max="NaN"/>
      </dgm:ruleLst>
      <dgm:forEach name="Name6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 axis="self"/>
          <dgm:constrLst>
            <dgm:constr type="w" for="ch" forName="iconBgRect" refType="w" fact="0.28"/>
            <dgm:constr type="h" for="ch" forName="iconBgRect" refType="w" refFor="ch" refForName="iconBgRect"/>
            <dgm:constr type="t" for="ch" forName="iconBgRect"/>
            <dgm:constr type="l" for="ch" forName="iconBgRect"/>
            <dgm:constr type="w" for="ch" forName="iconRect" refType="w" refFor="ch" refForName="iconBgRect" fact="0.58"/>
            <dgm:constr type="h" for="ch" forName="iconRect" refType="w" refFor="ch" refForName="iconRect"/>
            <dgm:constr type="ctrX" for="ch" forName="iconRect" refType="ctrX" refFor="ch" refForName="iconBgRect"/>
            <dgm:constr type="ctrY" for="ch" forName="iconRect" refType="ctrY" refFor="ch" refForName="iconBgRect"/>
            <dgm:constr type="w" for="ch" forName="spaceRect" refType="w" fact="0.06"/>
            <dgm:constr type="h" for="ch" forName="spaceRect" refType="h" refFor="ch" refForName="iconBgRect"/>
            <dgm:constr type="t" for="ch" forName="spaceRect" refType="t" refFor="ch" refForName="iconBgRect"/>
            <dgm:constr type="l" for="ch" forName="spaceRect" refType="r" refFor="ch" refForName="iconBgRect"/>
            <dgm:constr type="h" for="ch" forName="textRect" refType="h" refFor="ch" refForName="iconBgRect"/>
            <dgm:constr type="t" for="ch" forName="textRect" refType="t" refFor="ch" refForName="iconBgRect"/>
            <dgm:constr type="l" for="ch" forName="textRect" refType="r" refFor="ch" refForName="spaceRect"/>
          </dgm:constrLst>
          <dgm:ruleLst/>
          <dgm:layoutNode name="iconBgRect" styleLbl="bgShp">
            <dgm:alg type="sp"/>
            <dgm:shape xmlns:r="http://schemas.openxmlformats.org/officeDocument/2006/relationships" type="ellipse" r:blip="">
              <dgm:adjLst/>
            </dgm:shape>
            <dgm:presOf/>
            <dgm:constrLst/>
            <dgm:ruleLst/>
          </dgm:layoutNode>
          <dgm:layoutNode name="iconRect" styleLbl="node1">
            <dgm:alg type="sp"/>
            <dgm:shape xmlns:r="http://schemas.openxmlformats.org/officeDocument/2006/relationships" type="rect" r:blip="" blipPhldr="1">
              <dgm:adjLst/>
            </dgm:shape>
            <dgm:presOf/>
            <dgm:constrLst/>
            <dgm:ruleLst/>
          </dgm:layoutNode>
          <dgm:layoutNode name="spaceRect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textRect" styleLbl="revTx">
            <dgm:varLst>
              <dgm:chMax val="1"/>
              <dgm:chPref val="1"/>
            </dgm:varLst>
            <dgm:choose name="Name7">
              <dgm:if name="Name8" func="var" arg="dir" op="equ" val="norm">
                <dgm:alg type="tx">
                  <dgm:param type="txAnchorVert" val="mid"/>
                  <dgm:param type="parTxLTRAlign" val="l"/>
                  <dgm:param type="shpTxLTRAlignCh" val="l"/>
                  <dgm:param type="parTxRTLAlign" val="l"/>
                  <dgm:param type="shpTxRTLAlignCh" val="l"/>
                </dgm:alg>
              </dgm:if>
              <dgm:else name="Name9">
                <dgm:alg type="tx">
                  <dgm:param type="txAnchorVert" val="mid"/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11" fact="NaN" max="NaN"/>
            </dgm:ruleLst>
          </dgm:layoutNode>
        </dgm:layoutNode>
        <dgm:forEach name="Name10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1C5CDB-4DD3-4616-A2B1-CADC4CFE2E43}" type="datetimeFigureOut">
              <a:rPr lang="de-DE" smtClean="0"/>
              <a:t>15.12.24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6BB78E7-9FC0-46C6-A5A3-AA04B3BC5A47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109019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BB78E7-9FC0-46C6-A5A3-AA04B3BC5A47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329848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BB78E7-9FC0-46C6-A5A3-AA04B3BC5A47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294553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955220B0-981B-4B91-8046-7C7E0856AB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000" y="3582391"/>
            <a:ext cx="6134100" cy="1654772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0" indent="0" algn="l">
              <a:lnSpc>
                <a:spcPct val="80000"/>
              </a:lnSpc>
              <a:buNone/>
              <a:defRPr sz="3800" b="1" i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z="3800" b="1" dirty="0">
                <a:solidFill>
                  <a:schemeClr val="bg1"/>
                </a:solidFill>
                <a:latin typeface="+mj-lt"/>
              </a:rPr>
              <a:t>Willkommen an der</a:t>
            </a:r>
          </a:p>
          <a:p>
            <a:r>
              <a:rPr lang="de-DE" sz="3800" b="1" dirty="0">
                <a:solidFill>
                  <a:schemeClr val="bg1"/>
                </a:solidFill>
                <a:latin typeface="+mj-lt"/>
              </a:rPr>
              <a:t>Technischen Hochschule Ingolstadt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DFEA872E-0143-412F-8A3E-399C96D85CA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21725" y="6231025"/>
            <a:ext cx="2743200" cy="365125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600" b="1">
                <a:solidFill>
                  <a:srgbClr val="00599C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99ABBF9E-483A-49E3-B63F-F34D49842C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89001" y="5440363"/>
            <a:ext cx="6311900" cy="5524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FontTx/>
              <a:buNone/>
              <a:defRPr sz="2800" b="0" i="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FontTx/>
              <a:buNone/>
              <a:defRPr sz="1600" b="1" i="0" baseline="0">
                <a:solidFill>
                  <a:srgbClr val="575756"/>
                </a:solidFill>
                <a:latin typeface="Arial" panose="020B0604020202020204" pitchFamily="34" charset="0"/>
              </a:defRPr>
            </a:lvl2pPr>
            <a:lvl3pPr marL="914400" indent="0">
              <a:buFontTx/>
              <a:buNone/>
              <a:defRPr sz="1600" b="1" i="0" baseline="0">
                <a:solidFill>
                  <a:srgbClr val="575756"/>
                </a:solidFill>
                <a:latin typeface="Arial" panose="020B0604020202020204" pitchFamily="34" charset="0"/>
              </a:defRPr>
            </a:lvl3pPr>
            <a:lvl4pPr marL="1371600" indent="0">
              <a:buFontTx/>
              <a:buNone/>
              <a:defRPr sz="1600" b="1" i="0" baseline="0">
                <a:solidFill>
                  <a:srgbClr val="575756"/>
                </a:solidFill>
                <a:latin typeface="Arial" panose="020B0604020202020204" pitchFamily="34" charset="0"/>
              </a:defRPr>
            </a:lvl4pPr>
            <a:lvl5pPr marL="1828800" indent="0">
              <a:buFontTx/>
              <a:buNone/>
              <a:defRPr sz="1600" b="1" i="0" baseline="0">
                <a:solidFill>
                  <a:srgbClr val="575756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Unter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333369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092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31">
          <p15:clr>
            <a:srgbClr val="FBAE40"/>
          </p15:clr>
        </p15:guide>
        <p15:guide id="4" orient="horz" pos="4085">
          <p15:clr>
            <a:srgbClr val="FBAE40"/>
          </p15:clr>
        </p15:guide>
        <p15:guide id="5" pos="234">
          <p15:clr>
            <a:srgbClr val="FBAE40"/>
          </p15:clr>
        </p15:guide>
        <p15:guide id="6" pos="7222">
          <p15:clr>
            <a:srgbClr val="FBAE40"/>
          </p15:clr>
        </p15:guide>
        <p15:guide id="7" orient="horz" pos="325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E2D6EFB-4C49-570C-61D9-7E44A040D2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9FEC2A8-9949-D70D-F0E8-34F91D6DF8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5" name="Titelplatzhalter 1">
            <a:extLst>
              <a:ext uri="{FF2B5EF4-FFF2-40B4-BE49-F238E27FC236}">
                <a16:creationId xmlns:a16="http://schemas.microsoft.com/office/drawing/2014/main" id="{28A6E2C8-0724-8FBD-37E0-84AD813C23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0460" y="664647"/>
            <a:ext cx="1013234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Überschrift 2</a:t>
            </a:r>
          </a:p>
        </p:txBody>
      </p:sp>
      <p:sp>
        <p:nvSpPr>
          <p:cNvPr id="7" name="Inhaltsplatzhalter 8">
            <a:extLst>
              <a:ext uri="{FF2B5EF4-FFF2-40B4-BE49-F238E27FC236}">
                <a16:creationId xmlns:a16="http://schemas.microsoft.com/office/drawing/2014/main" id="{755DAC17-192C-C2BB-264C-B8C5B802E13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472167"/>
            <a:ext cx="10134600" cy="504825"/>
          </a:xfrm>
        </p:spPr>
        <p:txBody>
          <a:bodyPr/>
          <a:lstStyle>
            <a:lvl1pPr marL="0" indent="0">
              <a:buNone/>
              <a:defRPr sz="2000">
                <a:solidFill>
                  <a:srgbClr val="005A96"/>
                </a:solidFill>
              </a:defRPr>
            </a:lvl1pPr>
          </a:lstStyle>
          <a:p>
            <a:pPr lvl="0"/>
            <a:r>
              <a:rPr lang="de-DE" dirty="0"/>
              <a:t>Überschrift 1</a:t>
            </a:r>
          </a:p>
        </p:txBody>
      </p:sp>
    </p:spTree>
    <p:extLst>
      <p:ext uri="{BB962C8B-B14F-4D97-AF65-F5344CB8AC3E}">
        <p14:creationId xmlns:p14="http://schemas.microsoft.com/office/powerpoint/2010/main" val="42749664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ufz.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/>
          <p:cNvSpPr>
            <a:spLocks noGrp="1"/>
          </p:cNvSpPr>
          <p:nvPr>
            <p:ph type="pic" sz="quarter" idx="16"/>
          </p:nvPr>
        </p:nvSpPr>
        <p:spPr>
          <a:xfrm>
            <a:off x="6308421" y="1771651"/>
            <a:ext cx="5380801" cy="446850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endParaRPr lang="de-DE" noProof="0" dirty="0"/>
          </a:p>
        </p:txBody>
      </p:sp>
      <p:sp>
        <p:nvSpPr>
          <p:cNvPr id="18" name="Textplatzhalter 15"/>
          <p:cNvSpPr>
            <a:spLocks noGrp="1"/>
          </p:cNvSpPr>
          <p:nvPr>
            <p:ph type="body" sz="quarter" idx="20"/>
          </p:nvPr>
        </p:nvSpPr>
        <p:spPr>
          <a:xfrm>
            <a:off x="632884" y="1771655"/>
            <a:ext cx="5401253" cy="4739759"/>
          </a:xfrm>
          <a:prstGeom prst="rect">
            <a:avLst/>
          </a:prstGeom>
        </p:spPr>
        <p:txBody>
          <a:bodyPr/>
          <a:lstStyle>
            <a:lvl1pPr marL="0" indent="360000">
              <a:lnSpc>
                <a:spcPct val="150000"/>
              </a:lnSpc>
              <a:spcBef>
                <a:spcPts val="0"/>
              </a:spcBef>
              <a:defRPr sz="1600" b="1" kern="0"/>
            </a:lvl1pPr>
            <a:lvl2pPr marL="360000" indent="360000">
              <a:lnSpc>
                <a:spcPct val="150000"/>
              </a:lnSpc>
              <a:spcBef>
                <a:spcPts val="0"/>
              </a:spcBef>
              <a:defRPr sz="1600" kern="0"/>
            </a:lvl2pPr>
            <a:lvl3pPr marL="720000" indent="360000">
              <a:lnSpc>
                <a:spcPct val="150000"/>
              </a:lnSpc>
              <a:spcBef>
                <a:spcPts val="0"/>
              </a:spcBef>
              <a:defRPr sz="1600" kern="0"/>
            </a:lvl3pPr>
            <a:lvl4pPr marL="1080000" indent="360000">
              <a:lnSpc>
                <a:spcPct val="150000"/>
              </a:lnSpc>
              <a:spcBef>
                <a:spcPts val="0"/>
              </a:spcBef>
              <a:defRPr sz="1600" kern="0"/>
            </a:lvl4pPr>
            <a:lvl5pPr marL="1440000" indent="360000">
              <a:lnSpc>
                <a:spcPct val="150000"/>
              </a:lnSpc>
              <a:spcBef>
                <a:spcPts val="0"/>
              </a:spcBef>
              <a:defRPr sz="1600" kern="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9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2" name="Textplatzhalter 16"/>
          <p:cNvSpPr>
            <a:spLocks noGrp="1"/>
          </p:cNvSpPr>
          <p:nvPr>
            <p:ph type="body" sz="quarter" idx="17"/>
          </p:nvPr>
        </p:nvSpPr>
        <p:spPr>
          <a:xfrm>
            <a:off x="6308422" y="6398644"/>
            <a:ext cx="5380801" cy="1127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1" baseline="0">
                <a:solidFill>
                  <a:schemeClr val="tx1"/>
                </a:solidFill>
                <a:latin typeface="Arial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Foliennummernplatzhalter 10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5DF636-10E3-C843-BAEB-4F17E52BCE01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07937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1051" y="426565"/>
            <a:ext cx="9401175" cy="644525"/>
          </a:xfrm>
          <a:prstGeom prst="rect">
            <a:avLst/>
          </a:prstGeom>
        </p:spPr>
        <p:txBody>
          <a:bodyPr/>
          <a:lstStyle>
            <a:lvl1pPr>
              <a:defRPr sz="3200" b="1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1052" y="1652705"/>
            <a:ext cx="11496675" cy="394681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9240765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7AD6A65-D5C1-62AA-1185-F250E93E1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9100B22-DF33-65BB-0007-83E0004942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CF9979-3C66-1549-190E-5E0F6FBD1B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9E9FB2-15AD-4BAD-B5DA-63EA35E480F0}" type="slidenum">
              <a:rPr lang="de-DE" smtClean="0"/>
              <a:t>‹#›</a:t>
            </a:fld>
            <a:endParaRPr lang="de-DE" dirty="0"/>
          </a:p>
        </p:txBody>
      </p:sp>
      <p:sp>
        <p:nvSpPr>
          <p:cNvPr id="7" name="Titelplatzhalter 1">
            <a:extLst>
              <a:ext uri="{FF2B5EF4-FFF2-40B4-BE49-F238E27FC236}">
                <a16:creationId xmlns:a16="http://schemas.microsoft.com/office/drawing/2014/main" id="{17CD2510-B24F-E08D-439F-08B03EA5DB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6362" y="520624"/>
            <a:ext cx="10515600" cy="10203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j-ea"/>
                <a:cs typeface="+mj-cs"/>
              </a:rPr>
              <a:t>Mastertitelformat bearbeiten</a:t>
            </a:r>
            <a:br>
              <a:rPr lang="de-DE" dirty="0"/>
            </a:br>
            <a:r>
              <a:rPr lang="de-DE" dirty="0"/>
              <a:t>Mastertitelformat bearbeiten</a:t>
            </a:r>
          </a:p>
        </p:txBody>
      </p:sp>
      <p:sp>
        <p:nvSpPr>
          <p:cNvPr id="8" name="Rechteck 2">
            <a:extLst>
              <a:ext uri="{FF2B5EF4-FFF2-40B4-BE49-F238E27FC236}">
                <a16:creationId xmlns:a16="http://schemas.microsoft.com/office/drawing/2014/main" id="{7797BBE1-954D-E4C1-E1DC-637E28421130}"/>
              </a:ext>
            </a:extLst>
          </p:cNvPr>
          <p:cNvSpPr/>
          <p:nvPr userDrawn="1"/>
        </p:nvSpPr>
        <p:spPr>
          <a:xfrm rot="900000">
            <a:off x="7915061" y="2023018"/>
            <a:ext cx="4743438" cy="5570800"/>
          </a:xfrm>
          <a:custGeom>
            <a:avLst/>
            <a:gdLst>
              <a:gd name="connsiteX0" fmla="*/ 0 w 4937060"/>
              <a:gd name="connsiteY0" fmla="*/ 0 h 5843634"/>
              <a:gd name="connsiteX1" fmla="*/ 4937060 w 4937060"/>
              <a:gd name="connsiteY1" fmla="*/ 0 h 5843634"/>
              <a:gd name="connsiteX2" fmla="*/ 4937060 w 4937060"/>
              <a:gd name="connsiteY2" fmla="*/ 5843634 h 5843634"/>
              <a:gd name="connsiteX3" fmla="*/ 0 w 4937060"/>
              <a:gd name="connsiteY3" fmla="*/ 5843634 h 5843634"/>
              <a:gd name="connsiteX4" fmla="*/ 0 w 4937060"/>
              <a:gd name="connsiteY4" fmla="*/ 0 h 5843634"/>
              <a:gd name="connsiteX0" fmla="*/ 0 w 4937060"/>
              <a:gd name="connsiteY0" fmla="*/ 3186 h 5846820"/>
              <a:gd name="connsiteX1" fmla="*/ 3593274 w 4937060"/>
              <a:gd name="connsiteY1" fmla="*/ 0 h 5846820"/>
              <a:gd name="connsiteX2" fmla="*/ 4937060 w 4937060"/>
              <a:gd name="connsiteY2" fmla="*/ 5846820 h 5846820"/>
              <a:gd name="connsiteX3" fmla="*/ 0 w 4937060"/>
              <a:gd name="connsiteY3" fmla="*/ 5846820 h 5846820"/>
              <a:gd name="connsiteX4" fmla="*/ 0 w 4937060"/>
              <a:gd name="connsiteY4" fmla="*/ 3186 h 5846820"/>
              <a:gd name="connsiteX0" fmla="*/ 0 w 4743438"/>
              <a:gd name="connsiteY0" fmla="*/ 3186 h 5846820"/>
              <a:gd name="connsiteX1" fmla="*/ 3593274 w 4743438"/>
              <a:gd name="connsiteY1" fmla="*/ 0 h 5846820"/>
              <a:gd name="connsiteX2" fmla="*/ 4743438 w 4743438"/>
              <a:gd name="connsiteY2" fmla="*/ 4302594 h 5846820"/>
              <a:gd name="connsiteX3" fmla="*/ 0 w 4743438"/>
              <a:gd name="connsiteY3" fmla="*/ 5846820 h 5846820"/>
              <a:gd name="connsiteX4" fmla="*/ 0 w 4743438"/>
              <a:gd name="connsiteY4" fmla="*/ 3186 h 5846820"/>
              <a:gd name="connsiteX0" fmla="*/ 0 w 4743438"/>
              <a:gd name="connsiteY0" fmla="*/ 3186 h 5570800"/>
              <a:gd name="connsiteX1" fmla="*/ 3593274 w 4743438"/>
              <a:gd name="connsiteY1" fmla="*/ 0 h 5570800"/>
              <a:gd name="connsiteX2" fmla="*/ 4743438 w 4743438"/>
              <a:gd name="connsiteY2" fmla="*/ 4302594 h 5570800"/>
              <a:gd name="connsiteX3" fmla="*/ 3093 w 4743438"/>
              <a:gd name="connsiteY3" fmla="*/ 5570800 h 5570800"/>
              <a:gd name="connsiteX4" fmla="*/ 0 w 4743438"/>
              <a:gd name="connsiteY4" fmla="*/ 3186 h 557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43438" h="5570800">
                <a:moveTo>
                  <a:pt x="0" y="3186"/>
                </a:moveTo>
                <a:lnTo>
                  <a:pt x="3593274" y="0"/>
                </a:lnTo>
                <a:lnTo>
                  <a:pt x="4743438" y="4302594"/>
                </a:lnTo>
                <a:lnTo>
                  <a:pt x="3093" y="5570800"/>
                </a:lnTo>
                <a:lnTo>
                  <a:pt x="0" y="3186"/>
                </a:lnTo>
                <a:close/>
              </a:path>
            </a:pathLst>
          </a:custGeom>
          <a:solidFill>
            <a:srgbClr val="005A9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kzidenz-Grotesk Next Regular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6308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1051" y="426565"/>
            <a:ext cx="9401175" cy="644525"/>
          </a:xfrm>
          <a:prstGeom prst="rect">
            <a:avLst/>
          </a:prstGeom>
        </p:spPr>
        <p:txBody>
          <a:bodyPr/>
          <a:lstStyle>
            <a:lvl1pPr>
              <a:defRPr sz="3200" b="1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350838" y="1658364"/>
            <a:ext cx="11507787" cy="394115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1982192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1051" y="426565"/>
            <a:ext cx="9401175" cy="644525"/>
          </a:xfrm>
          <a:prstGeom prst="rect">
            <a:avLst/>
          </a:prstGeom>
        </p:spPr>
        <p:txBody>
          <a:bodyPr/>
          <a:lstStyle>
            <a:lvl1pPr>
              <a:defRPr sz="3200" b="1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1052" y="1652705"/>
            <a:ext cx="11496675" cy="394681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1115910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48006" y="1639492"/>
            <a:ext cx="5487185" cy="3941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81946" y="1620640"/>
            <a:ext cx="5480905" cy="396002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351051" y="426565"/>
            <a:ext cx="9401175" cy="644525"/>
          </a:xfrm>
          <a:prstGeom prst="rect">
            <a:avLst/>
          </a:prstGeom>
        </p:spPr>
        <p:txBody>
          <a:bodyPr/>
          <a:lstStyle>
            <a:lvl1pPr>
              <a:defRPr sz="3200" b="1"/>
            </a:lvl1pPr>
          </a:lstStyle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0638704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856115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Zwischentitel / Kapitel / neuer Abschni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44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3751036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Foliennummernplatzhalter 1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D8FB2E-9454-CC40-B155-B924620EFC86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38642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D67520-7C8F-7613-5DF1-EFDF91368F7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122363"/>
            <a:ext cx="744855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E8A0071-FB47-AC68-D7DB-3B7970DE04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200" y="3602038"/>
            <a:ext cx="744855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42ADB0B-7CAA-17E0-560E-EDE236D7D9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3779BA7-0B48-B00D-6BAF-B396D1180B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8" name="Rechteck 2">
            <a:extLst>
              <a:ext uri="{FF2B5EF4-FFF2-40B4-BE49-F238E27FC236}">
                <a16:creationId xmlns:a16="http://schemas.microsoft.com/office/drawing/2014/main" id="{18D1FF35-9BF2-B781-1F61-D38E0058699D}"/>
              </a:ext>
            </a:extLst>
          </p:cNvPr>
          <p:cNvSpPr/>
          <p:nvPr userDrawn="1"/>
        </p:nvSpPr>
        <p:spPr>
          <a:xfrm rot="900000">
            <a:off x="7915061" y="2023018"/>
            <a:ext cx="4743438" cy="5570800"/>
          </a:xfrm>
          <a:custGeom>
            <a:avLst/>
            <a:gdLst>
              <a:gd name="connsiteX0" fmla="*/ 0 w 4937060"/>
              <a:gd name="connsiteY0" fmla="*/ 0 h 5843634"/>
              <a:gd name="connsiteX1" fmla="*/ 4937060 w 4937060"/>
              <a:gd name="connsiteY1" fmla="*/ 0 h 5843634"/>
              <a:gd name="connsiteX2" fmla="*/ 4937060 w 4937060"/>
              <a:gd name="connsiteY2" fmla="*/ 5843634 h 5843634"/>
              <a:gd name="connsiteX3" fmla="*/ 0 w 4937060"/>
              <a:gd name="connsiteY3" fmla="*/ 5843634 h 5843634"/>
              <a:gd name="connsiteX4" fmla="*/ 0 w 4937060"/>
              <a:gd name="connsiteY4" fmla="*/ 0 h 5843634"/>
              <a:gd name="connsiteX0" fmla="*/ 0 w 4937060"/>
              <a:gd name="connsiteY0" fmla="*/ 3186 h 5846820"/>
              <a:gd name="connsiteX1" fmla="*/ 3593274 w 4937060"/>
              <a:gd name="connsiteY1" fmla="*/ 0 h 5846820"/>
              <a:gd name="connsiteX2" fmla="*/ 4937060 w 4937060"/>
              <a:gd name="connsiteY2" fmla="*/ 5846820 h 5846820"/>
              <a:gd name="connsiteX3" fmla="*/ 0 w 4937060"/>
              <a:gd name="connsiteY3" fmla="*/ 5846820 h 5846820"/>
              <a:gd name="connsiteX4" fmla="*/ 0 w 4937060"/>
              <a:gd name="connsiteY4" fmla="*/ 3186 h 5846820"/>
              <a:gd name="connsiteX0" fmla="*/ 0 w 4743438"/>
              <a:gd name="connsiteY0" fmla="*/ 3186 h 5846820"/>
              <a:gd name="connsiteX1" fmla="*/ 3593274 w 4743438"/>
              <a:gd name="connsiteY1" fmla="*/ 0 h 5846820"/>
              <a:gd name="connsiteX2" fmla="*/ 4743438 w 4743438"/>
              <a:gd name="connsiteY2" fmla="*/ 4302594 h 5846820"/>
              <a:gd name="connsiteX3" fmla="*/ 0 w 4743438"/>
              <a:gd name="connsiteY3" fmla="*/ 5846820 h 5846820"/>
              <a:gd name="connsiteX4" fmla="*/ 0 w 4743438"/>
              <a:gd name="connsiteY4" fmla="*/ 3186 h 5846820"/>
              <a:gd name="connsiteX0" fmla="*/ 0 w 4743438"/>
              <a:gd name="connsiteY0" fmla="*/ 3186 h 5570800"/>
              <a:gd name="connsiteX1" fmla="*/ 3593274 w 4743438"/>
              <a:gd name="connsiteY1" fmla="*/ 0 h 5570800"/>
              <a:gd name="connsiteX2" fmla="*/ 4743438 w 4743438"/>
              <a:gd name="connsiteY2" fmla="*/ 4302594 h 5570800"/>
              <a:gd name="connsiteX3" fmla="*/ 3093 w 4743438"/>
              <a:gd name="connsiteY3" fmla="*/ 5570800 h 5570800"/>
              <a:gd name="connsiteX4" fmla="*/ 0 w 4743438"/>
              <a:gd name="connsiteY4" fmla="*/ 3186 h 557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43438" h="5570800">
                <a:moveTo>
                  <a:pt x="0" y="3186"/>
                </a:moveTo>
                <a:lnTo>
                  <a:pt x="3593274" y="0"/>
                </a:lnTo>
                <a:lnTo>
                  <a:pt x="4743438" y="4302594"/>
                </a:lnTo>
                <a:lnTo>
                  <a:pt x="3093" y="5570800"/>
                </a:lnTo>
                <a:lnTo>
                  <a:pt x="0" y="3186"/>
                </a:lnTo>
                <a:close/>
              </a:path>
            </a:pathLst>
          </a:custGeom>
          <a:solidFill>
            <a:srgbClr val="005A9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kzidenz-Grotesk Next Regular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998565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platzhalter 22"/>
          <p:cNvSpPr>
            <a:spLocks noGrp="1"/>
          </p:cNvSpPr>
          <p:nvPr>
            <p:ph type="body" sz="quarter" idx="15"/>
          </p:nvPr>
        </p:nvSpPr>
        <p:spPr>
          <a:xfrm>
            <a:off x="632033" y="1770964"/>
            <a:ext cx="11064000" cy="474045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spcBef>
                <a:spcPts val="0"/>
              </a:spcBef>
              <a:buSzPct val="100000"/>
              <a:buFontTx/>
              <a:buNone/>
              <a:defRPr sz="1200" b="0" kern="0" baseline="0">
                <a:solidFill>
                  <a:schemeClr val="tx1"/>
                </a:solidFill>
                <a:latin typeface="Arial"/>
              </a:defRPr>
            </a:lvl1pPr>
            <a:lvl2pPr marL="742950" indent="-28575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2pPr>
            <a:lvl3pPr marL="11430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3pPr>
            <a:lvl4pPr marL="16002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4pPr>
            <a:lvl5pPr marL="20574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5pPr>
          </a:lstStyle>
          <a:p>
            <a:pPr lvl="0"/>
            <a:endParaRPr lang="ro-RO" dirty="0"/>
          </a:p>
        </p:txBody>
      </p:sp>
      <p:sp>
        <p:nvSpPr>
          <p:cNvPr id="15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5" name="Foliennummernplatzhalt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A07125-F287-674A-B4D8-FED3251FDE20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401C0FF0-7DE2-2B0A-9495-E7604AF1568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1816" y="346585"/>
            <a:ext cx="755370" cy="613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5192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platzhalter 22"/>
          <p:cNvSpPr>
            <a:spLocks noGrp="1"/>
          </p:cNvSpPr>
          <p:nvPr>
            <p:ph type="body" sz="quarter" idx="15"/>
          </p:nvPr>
        </p:nvSpPr>
        <p:spPr>
          <a:xfrm>
            <a:off x="632033" y="1770960"/>
            <a:ext cx="11064000" cy="10643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spcBef>
                <a:spcPts val="0"/>
              </a:spcBef>
              <a:buSzPct val="100000"/>
              <a:buFontTx/>
              <a:buNone/>
              <a:defRPr sz="1200" b="0" baseline="0">
                <a:solidFill>
                  <a:schemeClr val="tx1"/>
                </a:solidFill>
                <a:latin typeface="Arial"/>
              </a:defRPr>
            </a:lvl1pPr>
            <a:lvl2pPr marL="742950" indent="-28575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2pPr>
            <a:lvl3pPr marL="11430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3pPr>
            <a:lvl4pPr marL="16002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4pPr>
            <a:lvl5pPr marL="20574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5pPr>
          </a:lstStyle>
          <a:p>
            <a:pPr lvl="0"/>
            <a:endParaRPr lang="ro-RO" dirty="0"/>
          </a:p>
        </p:txBody>
      </p:sp>
      <p:sp>
        <p:nvSpPr>
          <p:cNvPr id="20" name="Textplatzhalter 15"/>
          <p:cNvSpPr>
            <a:spLocks noGrp="1"/>
          </p:cNvSpPr>
          <p:nvPr>
            <p:ph type="body" sz="quarter" idx="19"/>
          </p:nvPr>
        </p:nvSpPr>
        <p:spPr>
          <a:xfrm>
            <a:off x="632884" y="2978941"/>
            <a:ext cx="11063816" cy="3528000"/>
          </a:xfrm>
          <a:prstGeom prst="rect">
            <a:avLst/>
          </a:prstGeom>
        </p:spPr>
        <p:txBody>
          <a:bodyPr/>
          <a:lstStyle>
            <a:lvl1pPr marL="0" indent="360000">
              <a:lnSpc>
                <a:spcPct val="150000"/>
              </a:lnSpc>
              <a:spcBef>
                <a:spcPts val="0"/>
              </a:spcBef>
              <a:defRPr sz="1600" b="1" kern="0"/>
            </a:lvl1pPr>
            <a:lvl2pPr marL="360000" indent="360000">
              <a:lnSpc>
                <a:spcPct val="150000"/>
              </a:lnSpc>
              <a:spcBef>
                <a:spcPts val="0"/>
              </a:spcBef>
              <a:defRPr sz="1600" kern="0"/>
            </a:lvl2pPr>
            <a:lvl3pPr marL="720000" indent="360000">
              <a:lnSpc>
                <a:spcPct val="150000"/>
              </a:lnSpc>
              <a:spcBef>
                <a:spcPts val="0"/>
              </a:spcBef>
              <a:defRPr sz="1600" kern="0"/>
            </a:lvl3pPr>
            <a:lvl4pPr marL="1080000" indent="360000">
              <a:lnSpc>
                <a:spcPct val="150000"/>
              </a:lnSpc>
              <a:spcBef>
                <a:spcPts val="0"/>
              </a:spcBef>
              <a:defRPr sz="1600" kern="0"/>
            </a:lvl4pPr>
            <a:lvl5pPr marL="1440000" indent="360000">
              <a:lnSpc>
                <a:spcPct val="150000"/>
              </a:lnSpc>
              <a:spcBef>
                <a:spcPts val="0"/>
              </a:spcBef>
              <a:defRPr sz="1600" kern="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5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6" name="Foliennummernplatzhalter 10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4D81EC-8C31-054F-B717-4ACEB33BE349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27556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platzhalter 15"/>
          <p:cNvSpPr>
            <a:spLocks noGrp="1"/>
          </p:cNvSpPr>
          <p:nvPr>
            <p:ph type="body" sz="quarter" idx="19"/>
          </p:nvPr>
        </p:nvSpPr>
        <p:spPr>
          <a:xfrm>
            <a:off x="632884" y="1766888"/>
            <a:ext cx="11063816" cy="47412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360000">
              <a:lnSpc>
                <a:spcPct val="150000"/>
              </a:lnSpc>
              <a:spcBef>
                <a:spcPts val="0"/>
              </a:spcBef>
              <a:defRPr sz="1800" b="1" kern="0"/>
            </a:lvl1pPr>
            <a:lvl2pPr marL="360000" indent="360000">
              <a:lnSpc>
                <a:spcPct val="150000"/>
              </a:lnSpc>
              <a:spcBef>
                <a:spcPts val="0"/>
              </a:spcBef>
              <a:defRPr sz="1800" kern="0"/>
            </a:lvl2pPr>
            <a:lvl3pPr marL="720000" indent="360000">
              <a:lnSpc>
                <a:spcPct val="150000"/>
              </a:lnSpc>
              <a:spcBef>
                <a:spcPts val="0"/>
              </a:spcBef>
              <a:defRPr sz="1800" kern="0"/>
            </a:lvl3pPr>
            <a:lvl4pPr marL="1080000" indent="360000">
              <a:lnSpc>
                <a:spcPct val="150000"/>
              </a:lnSpc>
              <a:spcBef>
                <a:spcPts val="0"/>
              </a:spcBef>
              <a:defRPr sz="1800" kern="0"/>
            </a:lvl4pPr>
            <a:lvl5pPr marL="1440000" indent="360000">
              <a:lnSpc>
                <a:spcPct val="150000"/>
              </a:lnSpc>
              <a:spcBef>
                <a:spcPts val="0"/>
              </a:spcBef>
              <a:defRPr sz="1800" kern="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0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5" name="Foliennummernplatzhalter 10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E9E765-94CE-0941-BE99-F43834E80C33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654211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13"/>
          <p:cNvSpPr>
            <a:spLocks noGrp="1"/>
          </p:cNvSpPr>
          <p:nvPr>
            <p:ph type="pic" sz="quarter" idx="16"/>
          </p:nvPr>
        </p:nvSpPr>
        <p:spPr>
          <a:xfrm>
            <a:off x="633604" y="1767840"/>
            <a:ext cx="11055617" cy="4741200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endParaRPr lang="de-DE" noProof="0" dirty="0"/>
          </a:p>
        </p:txBody>
      </p:sp>
      <p:sp>
        <p:nvSpPr>
          <p:cNvPr id="14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5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A4BB87-D65B-B741-90D0-3BFE1FF2D190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494769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22"/>
          <p:cNvSpPr>
            <a:spLocks noGrp="1"/>
          </p:cNvSpPr>
          <p:nvPr>
            <p:ph type="body" sz="quarter" idx="15"/>
          </p:nvPr>
        </p:nvSpPr>
        <p:spPr>
          <a:xfrm>
            <a:off x="632038" y="1770964"/>
            <a:ext cx="5402103" cy="474045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spcBef>
                <a:spcPts val="0"/>
              </a:spcBef>
              <a:buSzPct val="100000"/>
              <a:buFontTx/>
              <a:buNone/>
              <a:defRPr sz="1200" b="0" kern="0" baseline="0">
                <a:solidFill>
                  <a:schemeClr val="tx1"/>
                </a:solidFill>
                <a:latin typeface="Arial"/>
              </a:defRPr>
            </a:lvl1pPr>
            <a:lvl2pPr marL="742950" indent="-28575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2pPr>
            <a:lvl3pPr marL="11430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3pPr>
            <a:lvl4pPr marL="16002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4pPr>
            <a:lvl5pPr marL="20574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5pPr>
          </a:lstStyle>
          <a:p>
            <a:pPr lvl="0"/>
            <a:endParaRPr lang="ro-RO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6"/>
          </p:nvPr>
        </p:nvSpPr>
        <p:spPr>
          <a:xfrm>
            <a:off x="6308421" y="1771651"/>
            <a:ext cx="5380801" cy="446850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endParaRPr lang="de-DE" noProof="0" dirty="0"/>
          </a:p>
        </p:txBody>
      </p:sp>
      <p:sp>
        <p:nvSpPr>
          <p:cNvPr id="15" name="Textplatzhalter 16"/>
          <p:cNvSpPr>
            <a:spLocks noGrp="1"/>
          </p:cNvSpPr>
          <p:nvPr>
            <p:ph type="body" sz="quarter" idx="17"/>
          </p:nvPr>
        </p:nvSpPr>
        <p:spPr>
          <a:xfrm>
            <a:off x="6308422" y="6398644"/>
            <a:ext cx="5380801" cy="1127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1" baseline="0">
                <a:solidFill>
                  <a:schemeClr val="tx1"/>
                </a:solidFill>
                <a:latin typeface="Arial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7" name="Foliennummernplatzhalter 10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549947-ECEE-CD4E-8E00-25DB9EFCD1C0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846344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/>
          <p:cNvSpPr>
            <a:spLocks noGrp="1"/>
          </p:cNvSpPr>
          <p:nvPr>
            <p:ph type="pic" sz="quarter" idx="16"/>
          </p:nvPr>
        </p:nvSpPr>
        <p:spPr>
          <a:xfrm>
            <a:off x="6308421" y="1771651"/>
            <a:ext cx="5380801" cy="446850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endParaRPr lang="de-DE" noProof="0" dirty="0"/>
          </a:p>
        </p:txBody>
      </p:sp>
      <p:sp>
        <p:nvSpPr>
          <p:cNvPr id="15" name="Textplatzhalter 16"/>
          <p:cNvSpPr>
            <a:spLocks noGrp="1"/>
          </p:cNvSpPr>
          <p:nvPr>
            <p:ph type="body" sz="quarter" idx="17"/>
          </p:nvPr>
        </p:nvSpPr>
        <p:spPr>
          <a:xfrm>
            <a:off x="6308422" y="6398644"/>
            <a:ext cx="5380801" cy="1127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1" baseline="0">
                <a:solidFill>
                  <a:schemeClr val="tx1"/>
                </a:solidFill>
                <a:latin typeface="Arial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0" name="Bildplatzhalter 13"/>
          <p:cNvSpPr>
            <a:spLocks noGrp="1"/>
          </p:cNvSpPr>
          <p:nvPr>
            <p:ph type="pic" sz="quarter" idx="18"/>
          </p:nvPr>
        </p:nvSpPr>
        <p:spPr>
          <a:xfrm>
            <a:off x="632368" y="1771651"/>
            <a:ext cx="5380801" cy="446850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endParaRPr lang="de-DE" noProof="0" dirty="0"/>
          </a:p>
        </p:txBody>
      </p:sp>
      <p:sp>
        <p:nvSpPr>
          <p:cNvPr id="11" name="Textplatzhalter 16"/>
          <p:cNvSpPr>
            <a:spLocks noGrp="1"/>
          </p:cNvSpPr>
          <p:nvPr>
            <p:ph type="body" sz="quarter" idx="19"/>
          </p:nvPr>
        </p:nvSpPr>
        <p:spPr>
          <a:xfrm>
            <a:off x="632369" y="6398644"/>
            <a:ext cx="5380801" cy="1127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1" baseline="0">
                <a:solidFill>
                  <a:schemeClr val="tx1"/>
                </a:solidFill>
                <a:latin typeface="Arial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Foliennummernplatzhalter 10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C90C2B-DDFC-DE4D-9708-9CA1E81D3CA7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6632610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.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/>
          <p:cNvSpPr>
            <a:spLocks noGrp="1"/>
          </p:cNvSpPr>
          <p:nvPr>
            <p:ph type="pic" sz="quarter" idx="16"/>
          </p:nvPr>
        </p:nvSpPr>
        <p:spPr>
          <a:xfrm>
            <a:off x="6308421" y="1771651"/>
            <a:ext cx="5380801" cy="446850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endParaRPr lang="de-DE" noProof="0" dirty="0"/>
          </a:p>
        </p:txBody>
      </p:sp>
      <p:sp>
        <p:nvSpPr>
          <p:cNvPr id="18" name="Textplatzhalter 15"/>
          <p:cNvSpPr>
            <a:spLocks noGrp="1"/>
          </p:cNvSpPr>
          <p:nvPr>
            <p:ph type="body" sz="quarter" idx="20"/>
          </p:nvPr>
        </p:nvSpPr>
        <p:spPr>
          <a:xfrm>
            <a:off x="632884" y="1771655"/>
            <a:ext cx="5401253" cy="4739759"/>
          </a:xfrm>
          <a:prstGeom prst="rect">
            <a:avLst/>
          </a:prstGeom>
        </p:spPr>
        <p:txBody>
          <a:bodyPr/>
          <a:lstStyle>
            <a:lvl1pPr marL="0" indent="360000">
              <a:lnSpc>
                <a:spcPct val="150000"/>
              </a:lnSpc>
              <a:spcBef>
                <a:spcPts val="0"/>
              </a:spcBef>
              <a:defRPr sz="1600" b="1" kern="0"/>
            </a:lvl1pPr>
            <a:lvl2pPr marL="360000" indent="360000">
              <a:lnSpc>
                <a:spcPct val="150000"/>
              </a:lnSpc>
              <a:spcBef>
                <a:spcPts val="0"/>
              </a:spcBef>
              <a:defRPr sz="1600" kern="0"/>
            </a:lvl2pPr>
            <a:lvl3pPr marL="720000" indent="360000">
              <a:lnSpc>
                <a:spcPct val="150000"/>
              </a:lnSpc>
              <a:spcBef>
                <a:spcPts val="0"/>
              </a:spcBef>
              <a:defRPr sz="1600" kern="0"/>
            </a:lvl3pPr>
            <a:lvl4pPr marL="1080000" indent="360000">
              <a:lnSpc>
                <a:spcPct val="150000"/>
              </a:lnSpc>
              <a:spcBef>
                <a:spcPts val="0"/>
              </a:spcBef>
              <a:defRPr sz="1600" kern="0"/>
            </a:lvl4pPr>
            <a:lvl5pPr marL="1440000" indent="360000">
              <a:lnSpc>
                <a:spcPct val="150000"/>
              </a:lnSpc>
              <a:spcBef>
                <a:spcPts val="0"/>
              </a:spcBef>
              <a:defRPr sz="1600" kern="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9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2" name="Textplatzhalter 16"/>
          <p:cNvSpPr>
            <a:spLocks noGrp="1"/>
          </p:cNvSpPr>
          <p:nvPr>
            <p:ph type="body" sz="quarter" idx="17"/>
          </p:nvPr>
        </p:nvSpPr>
        <p:spPr>
          <a:xfrm>
            <a:off x="6308422" y="6398644"/>
            <a:ext cx="5380801" cy="1127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1" baseline="0">
                <a:solidFill>
                  <a:schemeClr val="tx1"/>
                </a:solidFill>
                <a:latin typeface="Arial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Foliennummernplatzhalter 10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5DF636-10E3-C843-BAEB-4F17E52BCE01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61528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+Aufz.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22"/>
          <p:cNvSpPr>
            <a:spLocks noGrp="1"/>
          </p:cNvSpPr>
          <p:nvPr>
            <p:ph type="body" sz="quarter" idx="15"/>
          </p:nvPr>
        </p:nvSpPr>
        <p:spPr>
          <a:xfrm>
            <a:off x="632038" y="1770960"/>
            <a:ext cx="5402103" cy="16099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spcBef>
                <a:spcPts val="0"/>
              </a:spcBef>
              <a:buSzPct val="100000"/>
              <a:buFontTx/>
              <a:buNone/>
              <a:defRPr sz="1200" b="0" baseline="0">
                <a:solidFill>
                  <a:schemeClr val="tx1"/>
                </a:solidFill>
                <a:latin typeface="Arial"/>
              </a:defRPr>
            </a:lvl1pPr>
            <a:lvl2pPr marL="742950" indent="-28575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2pPr>
            <a:lvl3pPr marL="11430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3pPr>
            <a:lvl4pPr marL="16002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4pPr>
            <a:lvl5pPr marL="20574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5pPr>
          </a:lstStyle>
          <a:p>
            <a:pPr lvl="0"/>
            <a:endParaRPr lang="ro-RO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6"/>
          </p:nvPr>
        </p:nvSpPr>
        <p:spPr>
          <a:xfrm>
            <a:off x="6308421" y="1771651"/>
            <a:ext cx="5380801" cy="446850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endParaRPr lang="de-DE" noProof="0" dirty="0"/>
          </a:p>
        </p:txBody>
      </p:sp>
      <p:sp>
        <p:nvSpPr>
          <p:cNvPr id="23" name="Textplatzhalter 15"/>
          <p:cNvSpPr>
            <a:spLocks noGrp="1"/>
          </p:cNvSpPr>
          <p:nvPr>
            <p:ph type="body" sz="quarter" idx="20"/>
          </p:nvPr>
        </p:nvSpPr>
        <p:spPr>
          <a:xfrm>
            <a:off x="632884" y="3541926"/>
            <a:ext cx="5401253" cy="2969489"/>
          </a:xfrm>
          <a:prstGeom prst="rect">
            <a:avLst/>
          </a:prstGeom>
        </p:spPr>
        <p:txBody>
          <a:bodyPr/>
          <a:lstStyle>
            <a:lvl1pPr marL="0" indent="360000">
              <a:lnSpc>
                <a:spcPct val="150000"/>
              </a:lnSpc>
              <a:spcBef>
                <a:spcPts val="0"/>
              </a:spcBef>
              <a:defRPr sz="1600" b="1" kern="0"/>
            </a:lvl1pPr>
            <a:lvl2pPr marL="360000" indent="360000">
              <a:lnSpc>
                <a:spcPct val="150000"/>
              </a:lnSpc>
              <a:spcBef>
                <a:spcPts val="0"/>
              </a:spcBef>
              <a:defRPr sz="1600" kern="0"/>
            </a:lvl2pPr>
            <a:lvl3pPr marL="720000" indent="360000">
              <a:lnSpc>
                <a:spcPct val="150000"/>
              </a:lnSpc>
              <a:spcBef>
                <a:spcPts val="0"/>
              </a:spcBef>
              <a:defRPr sz="1600" kern="0"/>
            </a:lvl3pPr>
            <a:lvl4pPr marL="1080000" indent="360000">
              <a:lnSpc>
                <a:spcPct val="150000"/>
              </a:lnSpc>
              <a:spcBef>
                <a:spcPts val="0"/>
              </a:spcBef>
              <a:defRPr sz="1600" kern="0"/>
            </a:lvl4pPr>
            <a:lvl5pPr marL="1440000" indent="360000">
              <a:lnSpc>
                <a:spcPct val="150000"/>
              </a:lnSpc>
              <a:spcBef>
                <a:spcPts val="0"/>
              </a:spcBef>
              <a:defRPr sz="1600" kern="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6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5" name="Textplatzhalter 16"/>
          <p:cNvSpPr>
            <a:spLocks noGrp="1"/>
          </p:cNvSpPr>
          <p:nvPr>
            <p:ph type="body" sz="quarter" idx="17"/>
          </p:nvPr>
        </p:nvSpPr>
        <p:spPr>
          <a:xfrm>
            <a:off x="6308422" y="6398644"/>
            <a:ext cx="5380801" cy="1127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1" baseline="0">
                <a:solidFill>
                  <a:schemeClr val="tx1"/>
                </a:solidFill>
                <a:latin typeface="Arial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Foliennummernplatzhalter 10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35EDBF-F42E-4A47-ACDB-0E72DDFC05E8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2877283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955220B0-981B-4B91-8046-7C7E0856AB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0" y="3372107"/>
            <a:ext cx="5368925" cy="1654772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0" indent="0" algn="r">
              <a:lnSpc>
                <a:spcPct val="80000"/>
              </a:lnSpc>
              <a:buNone/>
              <a:defRPr sz="3600" i="1">
                <a:solidFill>
                  <a:srgbClr val="00599C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DFEA872E-0143-412F-8A3E-399C96D85CA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21725" y="6231025"/>
            <a:ext cx="2743200" cy="365125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600">
                <a:solidFill>
                  <a:srgbClr val="00599C"/>
                </a:solidFill>
              </a:defRPr>
            </a:lvl1pPr>
          </a:lstStyle>
          <a:p>
            <a:fld id="{54E47B7E-1879-468C-AC6C-74FE3DD743D1}" type="datetime1">
              <a:rPr lang="de-DE" smtClean="0"/>
              <a:pPr/>
              <a:t>15.12.24</a:t>
            </a:fld>
            <a:endParaRPr lang="de-DE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99ABBF9E-483A-49E3-B63F-F34D49842C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0" y="5160963"/>
            <a:ext cx="5368925" cy="5524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buFontTx/>
              <a:buNone/>
              <a:defRPr sz="1600" b="1" i="1" baseline="0">
                <a:solidFill>
                  <a:srgbClr val="575756"/>
                </a:solidFill>
                <a:latin typeface="Arial" panose="020B0604020202020204" pitchFamily="34" charset="0"/>
              </a:defRPr>
            </a:lvl1pPr>
            <a:lvl2pPr marL="457200" indent="0">
              <a:buFontTx/>
              <a:buNone/>
              <a:defRPr sz="1600" b="1" i="0" baseline="0">
                <a:solidFill>
                  <a:srgbClr val="575756"/>
                </a:solidFill>
                <a:latin typeface="Arial" panose="020B0604020202020204" pitchFamily="34" charset="0"/>
              </a:defRPr>
            </a:lvl2pPr>
            <a:lvl3pPr marL="914400" indent="0">
              <a:buFontTx/>
              <a:buNone/>
              <a:defRPr sz="1600" b="1" i="0" baseline="0">
                <a:solidFill>
                  <a:srgbClr val="575756"/>
                </a:solidFill>
                <a:latin typeface="Arial" panose="020B0604020202020204" pitchFamily="34" charset="0"/>
              </a:defRPr>
            </a:lvl3pPr>
            <a:lvl4pPr marL="1371600" indent="0">
              <a:buFontTx/>
              <a:buNone/>
              <a:defRPr sz="1600" b="1" i="0" baseline="0">
                <a:solidFill>
                  <a:srgbClr val="575756"/>
                </a:solidFill>
                <a:latin typeface="Arial" panose="020B0604020202020204" pitchFamily="34" charset="0"/>
              </a:defRPr>
            </a:lvl4pPr>
            <a:lvl5pPr marL="1828800" indent="0">
              <a:buFontTx/>
              <a:buNone/>
              <a:defRPr sz="1600" b="1" i="0" baseline="0">
                <a:solidFill>
                  <a:srgbClr val="575756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Unter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024890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sldNum="0" hdr="0" ftr="0"/>
  <p:extLst>
    <p:ext uri="{DCECCB84-F9BA-43D5-87BE-67443E8EF086}">
      <p15:sldGuideLst xmlns:p15="http://schemas.microsoft.com/office/powerpoint/2012/main">
        <p15:guide id="1" orient="horz" pos="2092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31">
          <p15:clr>
            <a:srgbClr val="FBAE40"/>
          </p15:clr>
        </p15:guide>
        <p15:guide id="4" orient="horz" pos="4085">
          <p15:clr>
            <a:srgbClr val="FBAE40"/>
          </p15:clr>
        </p15:guide>
        <p15:guide id="5" pos="234">
          <p15:clr>
            <a:srgbClr val="FBAE40"/>
          </p15:clr>
        </p15:guide>
        <p15:guide id="6" pos="7222">
          <p15:clr>
            <a:srgbClr val="FBAE40"/>
          </p15:clr>
        </p15:guide>
        <p15:guide id="7" orient="horz" pos="325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7AD6A65-D5C1-62AA-1185-F250E93E1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9100B22-DF33-65BB-0007-83E0004942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CF9979-3C66-1549-190E-5E0F6FBD1B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8" name="Rechteck 2">
            <a:extLst>
              <a:ext uri="{FF2B5EF4-FFF2-40B4-BE49-F238E27FC236}">
                <a16:creationId xmlns:a16="http://schemas.microsoft.com/office/drawing/2014/main" id="{7797BBE1-954D-E4C1-E1DC-637E28421130}"/>
              </a:ext>
            </a:extLst>
          </p:cNvPr>
          <p:cNvSpPr/>
          <p:nvPr userDrawn="1"/>
        </p:nvSpPr>
        <p:spPr>
          <a:xfrm rot="900000">
            <a:off x="7915061" y="2023018"/>
            <a:ext cx="4743438" cy="5570800"/>
          </a:xfrm>
          <a:custGeom>
            <a:avLst/>
            <a:gdLst>
              <a:gd name="connsiteX0" fmla="*/ 0 w 4937060"/>
              <a:gd name="connsiteY0" fmla="*/ 0 h 5843634"/>
              <a:gd name="connsiteX1" fmla="*/ 4937060 w 4937060"/>
              <a:gd name="connsiteY1" fmla="*/ 0 h 5843634"/>
              <a:gd name="connsiteX2" fmla="*/ 4937060 w 4937060"/>
              <a:gd name="connsiteY2" fmla="*/ 5843634 h 5843634"/>
              <a:gd name="connsiteX3" fmla="*/ 0 w 4937060"/>
              <a:gd name="connsiteY3" fmla="*/ 5843634 h 5843634"/>
              <a:gd name="connsiteX4" fmla="*/ 0 w 4937060"/>
              <a:gd name="connsiteY4" fmla="*/ 0 h 5843634"/>
              <a:gd name="connsiteX0" fmla="*/ 0 w 4937060"/>
              <a:gd name="connsiteY0" fmla="*/ 3186 h 5846820"/>
              <a:gd name="connsiteX1" fmla="*/ 3593274 w 4937060"/>
              <a:gd name="connsiteY1" fmla="*/ 0 h 5846820"/>
              <a:gd name="connsiteX2" fmla="*/ 4937060 w 4937060"/>
              <a:gd name="connsiteY2" fmla="*/ 5846820 h 5846820"/>
              <a:gd name="connsiteX3" fmla="*/ 0 w 4937060"/>
              <a:gd name="connsiteY3" fmla="*/ 5846820 h 5846820"/>
              <a:gd name="connsiteX4" fmla="*/ 0 w 4937060"/>
              <a:gd name="connsiteY4" fmla="*/ 3186 h 5846820"/>
              <a:gd name="connsiteX0" fmla="*/ 0 w 4743438"/>
              <a:gd name="connsiteY0" fmla="*/ 3186 h 5846820"/>
              <a:gd name="connsiteX1" fmla="*/ 3593274 w 4743438"/>
              <a:gd name="connsiteY1" fmla="*/ 0 h 5846820"/>
              <a:gd name="connsiteX2" fmla="*/ 4743438 w 4743438"/>
              <a:gd name="connsiteY2" fmla="*/ 4302594 h 5846820"/>
              <a:gd name="connsiteX3" fmla="*/ 0 w 4743438"/>
              <a:gd name="connsiteY3" fmla="*/ 5846820 h 5846820"/>
              <a:gd name="connsiteX4" fmla="*/ 0 w 4743438"/>
              <a:gd name="connsiteY4" fmla="*/ 3186 h 5846820"/>
              <a:gd name="connsiteX0" fmla="*/ 0 w 4743438"/>
              <a:gd name="connsiteY0" fmla="*/ 3186 h 5570800"/>
              <a:gd name="connsiteX1" fmla="*/ 3593274 w 4743438"/>
              <a:gd name="connsiteY1" fmla="*/ 0 h 5570800"/>
              <a:gd name="connsiteX2" fmla="*/ 4743438 w 4743438"/>
              <a:gd name="connsiteY2" fmla="*/ 4302594 h 5570800"/>
              <a:gd name="connsiteX3" fmla="*/ 3093 w 4743438"/>
              <a:gd name="connsiteY3" fmla="*/ 5570800 h 5570800"/>
              <a:gd name="connsiteX4" fmla="*/ 0 w 4743438"/>
              <a:gd name="connsiteY4" fmla="*/ 3186 h 557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43438" h="5570800">
                <a:moveTo>
                  <a:pt x="0" y="3186"/>
                </a:moveTo>
                <a:lnTo>
                  <a:pt x="3593274" y="0"/>
                </a:lnTo>
                <a:lnTo>
                  <a:pt x="4743438" y="4302594"/>
                </a:lnTo>
                <a:lnTo>
                  <a:pt x="3093" y="5570800"/>
                </a:lnTo>
                <a:lnTo>
                  <a:pt x="0" y="3186"/>
                </a:lnTo>
                <a:close/>
              </a:path>
            </a:pathLst>
          </a:custGeom>
          <a:solidFill>
            <a:srgbClr val="005A9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kzidenz-Grotesk Next Regular"/>
              <a:ea typeface="+mn-ea"/>
              <a:cs typeface="+mn-cs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CA1A560-082E-2016-A40A-F5009AF360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0460" y="664647"/>
            <a:ext cx="1013234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Überschrift 2</a:t>
            </a:r>
          </a:p>
        </p:txBody>
      </p:sp>
      <p:sp>
        <p:nvSpPr>
          <p:cNvPr id="4" name="Inhaltsplatzhalter 8">
            <a:extLst>
              <a:ext uri="{FF2B5EF4-FFF2-40B4-BE49-F238E27FC236}">
                <a16:creationId xmlns:a16="http://schemas.microsoft.com/office/drawing/2014/main" id="{3272D902-0554-FBF7-C3F2-8BCC4F9A085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472167"/>
            <a:ext cx="10134600" cy="504825"/>
          </a:xfrm>
        </p:spPr>
        <p:txBody>
          <a:bodyPr/>
          <a:lstStyle>
            <a:lvl1pPr marL="0" indent="0">
              <a:buNone/>
              <a:defRPr sz="2000">
                <a:solidFill>
                  <a:srgbClr val="005A96"/>
                </a:solidFill>
              </a:defRPr>
            </a:lvl1pPr>
          </a:lstStyle>
          <a:p>
            <a:pPr lvl="0"/>
            <a:r>
              <a:rPr lang="de-DE" dirty="0"/>
              <a:t>Überschrift 1</a:t>
            </a:r>
          </a:p>
        </p:txBody>
      </p:sp>
    </p:spTree>
    <p:extLst>
      <p:ext uri="{BB962C8B-B14F-4D97-AF65-F5344CB8AC3E}">
        <p14:creationId xmlns:p14="http://schemas.microsoft.com/office/powerpoint/2010/main" val="16394244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7AD6A65-D5C1-62AA-1185-F250E93E1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9100B22-DF33-65BB-0007-83E0004942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CF9979-3C66-1549-190E-5E0F6FBD1B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CA1A560-082E-2016-A40A-F5009AF360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0460" y="664647"/>
            <a:ext cx="1013234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Überschrift 2</a:t>
            </a:r>
          </a:p>
        </p:txBody>
      </p:sp>
      <p:sp>
        <p:nvSpPr>
          <p:cNvPr id="4" name="Inhaltsplatzhalter 8">
            <a:extLst>
              <a:ext uri="{FF2B5EF4-FFF2-40B4-BE49-F238E27FC236}">
                <a16:creationId xmlns:a16="http://schemas.microsoft.com/office/drawing/2014/main" id="{3272D902-0554-FBF7-C3F2-8BCC4F9A085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472167"/>
            <a:ext cx="10134600" cy="504825"/>
          </a:xfrm>
        </p:spPr>
        <p:txBody>
          <a:bodyPr/>
          <a:lstStyle>
            <a:lvl1pPr marL="0" indent="0">
              <a:buNone/>
              <a:defRPr sz="2000">
                <a:solidFill>
                  <a:srgbClr val="005A96"/>
                </a:solidFill>
              </a:defRPr>
            </a:lvl1pPr>
          </a:lstStyle>
          <a:p>
            <a:pPr lvl="0"/>
            <a:r>
              <a:rPr lang="de-DE" dirty="0"/>
              <a:t>Überschrift 1</a:t>
            </a:r>
          </a:p>
        </p:txBody>
      </p:sp>
      <p:sp>
        <p:nvSpPr>
          <p:cNvPr id="9" name="Rechteck 4">
            <a:extLst>
              <a:ext uri="{FF2B5EF4-FFF2-40B4-BE49-F238E27FC236}">
                <a16:creationId xmlns:a16="http://schemas.microsoft.com/office/drawing/2014/main" id="{19FF2D26-B569-39E6-E876-1EBA05CB33EB}"/>
              </a:ext>
            </a:extLst>
          </p:cNvPr>
          <p:cNvSpPr/>
          <p:nvPr userDrawn="1"/>
        </p:nvSpPr>
        <p:spPr>
          <a:xfrm rot="900000">
            <a:off x="6921781" y="-502505"/>
            <a:ext cx="6205790" cy="8324029"/>
          </a:xfrm>
          <a:custGeom>
            <a:avLst/>
            <a:gdLst>
              <a:gd name="connsiteX0" fmla="*/ 0 w 5166047"/>
              <a:gd name="connsiteY0" fmla="*/ 0 h 7103738"/>
              <a:gd name="connsiteX1" fmla="*/ 5166047 w 5166047"/>
              <a:gd name="connsiteY1" fmla="*/ 0 h 7103738"/>
              <a:gd name="connsiteX2" fmla="*/ 5166047 w 5166047"/>
              <a:gd name="connsiteY2" fmla="*/ 7103738 h 7103738"/>
              <a:gd name="connsiteX3" fmla="*/ 0 w 5166047"/>
              <a:gd name="connsiteY3" fmla="*/ 7103738 h 7103738"/>
              <a:gd name="connsiteX4" fmla="*/ 0 w 5166047"/>
              <a:gd name="connsiteY4" fmla="*/ 0 h 7103738"/>
              <a:gd name="connsiteX0" fmla="*/ 0 w 5166047"/>
              <a:gd name="connsiteY0" fmla="*/ 1073163 h 8176901"/>
              <a:gd name="connsiteX1" fmla="*/ 3953853 w 5166047"/>
              <a:gd name="connsiteY1" fmla="*/ 0 h 8176901"/>
              <a:gd name="connsiteX2" fmla="*/ 5166047 w 5166047"/>
              <a:gd name="connsiteY2" fmla="*/ 8176901 h 8176901"/>
              <a:gd name="connsiteX3" fmla="*/ 0 w 5166047"/>
              <a:gd name="connsiteY3" fmla="*/ 8176901 h 8176901"/>
              <a:gd name="connsiteX4" fmla="*/ 0 w 5166047"/>
              <a:gd name="connsiteY4" fmla="*/ 1073163 h 8176901"/>
              <a:gd name="connsiteX0" fmla="*/ 0 w 5725841"/>
              <a:gd name="connsiteY0" fmla="*/ 1073163 h 8176901"/>
              <a:gd name="connsiteX1" fmla="*/ 3953853 w 5725841"/>
              <a:gd name="connsiteY1" fmla="*/ 0 h 8176901"/>
              <a:gd name="connsiteX2" fmla="*/ 5725841 w 5725841"/>
              <a:gd name="connsiteY2" fmla="*/ 6650950 h 8176901"/>
              <a:gd name="connsiteX3" fmla="*/ 0 w 5725841"/>
              <a:gd name="connsiteY3" fmla="*/ 8176901 h 8176901"/>
              <a:gd name="connsiteX4" fmla="*/ 0 w 5725841"/>
              <a:gd name="connsiteY4" fmla="*/ 1073163 h 8176901"/>
              <a:gd name="connsiteX0" fmla="*/ 0 w 5725841"/>
              <a:gd name="connsiteY0" fmla="*/ 1196999 h 8300737"/>
              <a:gd name="connsiteX1" fmla="*/ 4416016 w 5725841"/>
              <a:gd name="connsiteY1" fmla="*/ 0 h 8300737"/>
              <a:gd name="connsiteX2" fmla="*/ 5725841 w 5725841"/>
              <a:gd name="connsiteY2" fmla="*/ 6774786 h 8300737"/>
              <a:gd name="connsiteX3" fmla="*/ 0 w 5725841"/>
              <a:gd name="connsiteY3" fmla="*/ 8300737 h 8300737"/>
              <a:gd name="connsiteX4" fmla="*/ 0 w 5725841"/>
              <a:gd name="connsiteY4" fmla="*/ 1196999 h 8300737"/>
              <a:gd name="connsiteX0" fmla="*/ 0 w 6201024"/>
              <a:gd name="connsiteY0" fmla="*/ 1196999 h 8300737"/>
              <a:gd name="connsiteX1" fmla="*/ 4416016 w 6201024"/>
              <a:gd name="connsiteY1" fmla="*/ 0 h 8300737"/>
              <a:gd name="connsiteX2" fmla="*/ 6201024 w 6201024"/>
              <a:gd name="connsiteY2" fmla="*/ 6658469 h 8300737"/>
              <a:gd name="connsiteX3" fmla="*/ 0 w 6201024"/>
              <a:gd name="connsiteY3" fmla="*/ 8300737 h 8300737"/>
              <a:gd name="connsiteX4" fmla="*/ 0 w 6201024"/>
              <a:gd name="connsiteY4" fmla="*/ 1196999 h 8300737"/>
              <a:gd name="connsiteX0" fmla="*/ 4766 w 6205790"/>
              <a:gd name="connsiteY0" fmla="*/ 1196999 h 8324029"/>
              <a:gd name="connsiteX1" fmla="*/ 4420782 w 6205790"/>
              <a:gd name="connsiteY1" fmla="*/ 0 h 8324029"/>
              <a:gd name="connsiteX2" fmla="*/ 6205790 w 6205790"/>
              <a:gd name="connsiteY2" fmla="*/ 6658469 h 8324029"/>
              <a:gd name="connsiteX3" fmla="*/ 0 w 6205790"/>
              <a:gd name="connsiteY3" fmla="*/ 8324029 h 8324029"/>
              <a:gd name="connsiteX4" fmla="*/ 4766 w 6205790"/>
              <a:gd name="connsiteY4" fmla="*/ 1196999 h 8324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05790" h="8324029">
                <a:moveTo>
                  <a:pt x="4766" y="1196999"/>
                </a:moveTo>
                <a:lnTo>
                  <a:pt x="4420782" y="0"/>
                </a:lnTo>
                <a:lnTo>
                  <a:pt x="6205790" y="6658469"/>
                </a:lnTo>
                <a:lnTo>
                  <a:pt x="0" y="8324029"/>
                </a:lnTo>
                <a:cubicBezTo>
                  <a:pt x="1589" y="5948352"/>
                  <a:pt x="3177" y="3572676"/>
                  <a:pt x="4766" y="1196999"/>
                </a:cubicBezTo>
                <a:close/>
              </a:path>
            </a:pathLst>
          </a:custGeom>
          <a:solidFill>
            <a:srgbClr val="005A9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kzidenz-Grotesk Next Regular"/>
              <a:ea typeface="+mn-ea"/>
              <a:cs typeface="+mn-cs"/>
            </a:endParaRPr>
          </a:p>
        </p:txBody>
      </p:sp>
      <p:pic>
        <p:nvPicPr>
          <p:cNvPr id="10" name="Inhaltsplatzhalter 8">
            <a:extLst>
              <a:ext uri="{FF2B5EF4-FFF2-40B4-BE49-F238E27FC236}">
                <a16:creationId xmlns:a16="http://schemas.microsoft.com/office/drawing/2014/main" id="{CA39A26B-9A3F-B5D2-47E6-6D4AF8ED2D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81660" y="676124"/>
            <a:ext cx="744279" cy="709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92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7AD6A65-D5C1-62AA-1185-F250E93E1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9100B22-DF33-65BB-0007-83E0004942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CF9979-3C66-1549-190E-5E0F6FBD1B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elplatzhalter 1">
            <a:extLst>
              <a:ext uri="{FF2B5EF4-FFF2-40B4-BE49-F238E27FC236}">
                <a16:creationId xmlns:a16="http://schemas.microsoft.com/office/drawing/2014/main" id="{CB17A1EE-84D9-2D86-9343-309B92DED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0460" y="664647"/>
            <a:ext cx="1013234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Überschrift 2</a:t>
            </a:r>
          </a:p>
        </p:txBody>
      </p:sp>
      <p:sp>
        <p:nvSpPr>
          <p:cNvPr id="8" name="Inhaltsplatzhalter 8">
            <a:extLst>
              <a:ext uri="{FF2B5EF4-FFF2-40B4-BE49-F238E27FC236}">
                <a16:creationId xmlns:a16="http://schemas.microsoft.com/office/drawing/2014/main" id="{AAB17722-489A-13FD-A35A-D8CB100B7F4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472167"/>
            <a:ext cx="10134600" cy="504825"/>
          </a:xfrm>
        </p:spPr>
        <p:txBody>
          <a:bodyPr/>
          <a:lstStyle>
            <a:lvl1pPr marL="0" indent="0">
              <a:buNone/>
              <a:defRPr sz="2000">
                <a:solidFill>
                  <a:srgbClr val="005A96"/>
                </a:solidFill>
              </a:defRPr>
            </a:lvl1pPr>
          </a:lstStyle>
          <a:p>
            <a:pPr lvl="0"/>
            <a:r>
              <a:rPr lang="de-DE" dirty="0"/>
              <a:t>Überschrift 1</a:t>
            </a:r>
          </a:p>
        </p:txBody>
      </p:sp>
    </p:spTree>
    <p:extLst>
      <p:ext uri="{BB962C8B-B14F-4D97-AF65-F5344CB8AC3E}">
        <p14:creationId xmlns:p14="http://schemas.microsoft.com/office/powerpoint/2010/main" val="10307809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E2D6EFB-4C49-570C-61D9-7E44A040D2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9FEC2A8-9949-D70D-F0E8-34F91D6DF8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5" name="Titelplatzhalter 1">
            <a:extLst>
              <a:ext uri="{FF2B5EF4-FFF2-40B4-BE49-F238E27FC236}">
                <a16:creationId xmlns:a16="http://schemas.microsoft.com/office/drawing/2014/main" id="{28A6E2C8-0724-8FBD-37E0-84AD813C23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0460" y="664647"/>
            <a:ext cx="1013234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Überschrift 2</a:t>
            </a:r>
          </a:p>
        </p:txBody>
      </p:sp>
      <p:sp>
        <p:nvSpPr>
          <p:cNvPr id="7" name="Inhaltsplatzhalter 8">
            <a:extLst>
              <a:ext uri="{FF2B5EF4-FFF2-40B4-BE49-F238E27FC236}">
                <a16:creationId xmlns:a16="http://schemas.microsoft.com/office/drawing/2014/main" id="{755DAC17-192C-C2BB-264C-B8C5B802E13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472167"/>
            <a:ext cx="10134600" cy="504825"/>
          </a:xfrm>
        </p:spPr>
        <p:txBody>
          <a:bodyPr/>
          <a:lstStyle>
            <a:lvl1pPr marL="0" indent="0">
              <a:buNone/>
              <a:defRPr sz="2000">
                <a:solidFill>
                  <a:srgbClr val="005A96"/>
                </a:solidFill>
              </a:defRPr>
            </a:lvl1pPr>
          </a:lstStyle>
          <a:p>
            <a:pPr lvl="0"/>
            <a:r>
              <a:rPr lang="de-DE" dirty="0"/>
              <a:t>Überschrift 1</a:t>
            </a:r>
          </a:p>
        </p:txBody>
      </p:sp>
    </p:spTree>
    <p:extLst>
      <p:ext uri="{BB962C8B-B14F-4D97-AF65-F5344CB8AC3E}">
        <p14:creationId xmlns:p14="http://schemas.microsoft.com/office/powerpoint/2010/main" val="20311247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18E80EAF-E5FB-8104-6451-3CF39FD5E8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468500"/>
            <a:ext cx="9248434" cy="43895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5D67520-7C8F-7613-5DF1-EFDF91368F7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206240" y="1122363"/>
            <a:ext cx="744855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 b="1"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E8A0071-FB47-AC68-D7DB-3B7970DE04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95620" y="4140023"/>
            <a:ext cx="4525515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42ADB0B-7CAA-17E0-560E-EDE236D7D9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3779BA7-0B48-B00D-6BAF-B396D1180B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96690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BAAB4838-1A6D-26A3-2490-24EED1DDC6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468500"/>
            <a:ext cx="9248434" cy="4389500"/>
          </a:xfrm>
          <a:prstGeom prst="rect">
            <a:avLst/>
          </a:prstGeom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7AD6A65-D5C1-62AA-1185-F250E93E1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9100B22-DF33-65BB-0007-83E0004942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CF9979-3C66-1549-190E-5E0F6FBD1B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049E9FB2-15AD-4BAD-B5DA-63EA35E480F0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CA1A560-082E-2016-A40A-F5009AF360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0460" y="664647"/>
            <a:ext cx="1013234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Überschrift 2</a:t>
            </a:r>
          </a:p>
        </p:txBody>
      </p:sp>
      <p:sp>
        <p:nvSpPr>
          <p:cNvPr id="4" name="Inhaltsplatzhalter 8">
            <a:extLst>
              <a:ext uri="{FF2B5EF4-FFF2-40B4-BE49-F238E27FC236}">
                <a16:creationId xmlns:a16="http://schemas.microsoft.com/office/drawing/2014/main" id="{3272D902-0554-FBF7-C3F2-8BCC4F9A085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472167"/>
            <a:ext cx="10134600" cy="504825"/>
          </a:xfrm>
        </p:spPr>
        <p:txBody>
          <a:bodyPr/>
          <a:lstStyle>
            <a:lvl1pPr marL="0" indent="0">
              <a:buNone/>
              <a:defRPr sz="2000">
                <a:solidFill>
                  <a:srgbClr val="005A96"/>
                </a:solidFill>
              </a:defRPr>
            </a:lvl1pPr>
          </a:lstStyle>
          <a:p>
            <a:pPr lvl="0"/>
            <a:r>
              <a:rPr lang="de-DE" dirty="0"/>
              <a:t>Überschrift 1</a:t>
            </a:r>
          </a:p>
        </p:txBody>
      </p:sp>
    </p:spTree>
    <p:extLst>
      <p:ext uri="{BB962C8B-B14F-4D97-AF65-F5344CB8AC3E}">
        <p14:creationId xmlns:p14="http://schemas.microsoft.com/office/powerpoint/2010/main" val="10469671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7AD6A65-D5C1-62AA-1185-F250E93E1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9100B22-DF33-65BB-0007-83E0004942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CF9979-3C66-1549-190E-5E0F6FBD1B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elplatzhalter 1">
            <a:extLst>
              <a:ext uri="{FF2B5EF4-FFF2-40B4-BE49-F238E27FC236}">
                <a16:creationId xmlns:a16="http://schemas.microsoft.com/office/drawing/2014/main" id="{CB17A1EE-84D9-2D86-9343-309B92DED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0460" y="664647"/>
            <a:ext cx="1013234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Überschrift 2</a:t>
            </a:r>
          </a:p>
        </p:txBody>
      </p:sp>
      <p:sp>
        <p:nvSpPr>
          <p:cNvPr id="8" name="Inhaltsplatzhalter 8">
            <a:extLst>
              <a:ext uri="{FF2B5EF4-FFF2-40B4-BE49-F238E27FC236}">
                <a16:creationId xmlns:a16="http://schemas.microsoft.com/office/drawing/2014/main" id="{AAB17722-489A-13FD-A35A-D8CB100B7F4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472167"/>
            <a:ext cx="10134600" cy="504825"/>
          </a:xfrm>
        </p:spPr>
        <p:txBody>
          <a:bodyPr/>
          <a:lstStyle>
            <a:lvl1pPr marL="0" indent="0">
              <a:buNone/>
              <a:defRPr sz="2000">
                <a:solidFill>
                  <a:srgbClr val="005A96"/>
                </a:solidFill>
              </a:defRPr>
            </a:lvl1pPr>
          </a:lstStyle>
          <a:p>
            <a:pPr lvl="0"/>
            <a:r>
              <a:rPr lang="de-DE" dirty="0"/>
              <a:t>Überschrift 1</a:t>
            </a:r>
          </a:p>
        </p:txBody>
      </p:sp>
    </p:spTree>
    <p:extLst>
      <p:ext uri="{BB962C8B-B14F-4D97-AF65-F5344CB8AC3E}">
        <p14:creationId xmlns:p14="http://schemas.microsoft.com/office/powerpoint/2010/main" val="42788648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4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6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1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10.xml"/><Relationship Id="rId9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16.xml"/><Relationship Id="rId7" Type="http://schemas.openxmlformats.org/officeDocument/2006/relationships/tags" Target="../tags/tag5.xml"/><Relationship Id="rId12" Type="http://schemas.openxmlformats.org/officeDocument/2006/relationships/image" Target="../media/image8.png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4.xml"/><Relationship Id="rId11" Type="http://schemas.openxmlformats.org/officeDocument/2006/relationships/image" Target="../media/image7.png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6.pn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tags" Target="../tags/tag6.xml"/><Relationship Id="rId17" Type="http://schemas.openxmlformats.org/officeDocument/2006/relationships/image" Target="../media/image12.emf"/><Relationship Id="rId2" Type="http://schemas.openxmlformats.org/officeDocument/2006/relationships/slideLayout" Target="../slideLayouts/slideLayout20.xml"/><Relationship Id="rId16" Type="http://schemas.openxmlformats.org/officeDocument/2006/relationships/image" Target="../media/image11.emf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23.xml"/><Relationship Id="rId15" Type="http://schemas.openxmlformats.org/officeDocument/2006/relationships/image" Target="../media/image10.emf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69E5155-9253-EBF8-86B8-2AC7A14C62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715073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1" descr="Ein Bild, das Text enthält.&#10;&#10;Automatisch generierte Beschreibung">
            <a:extLst>
              <a:ext uri="{FF2B5EF4-FFF2-40B4-BE49-F238E27FC236}">
                <a16:creationId xmlns:a16="http://schemas.microsoft.com/office/drawing/2014/main" id="{B4A9B2F0-3FEC-5503-6AB9-6A9A08D98BE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50864" y="473284"/>
            <a:ext cx="3220152" cy="1416107"/>
          </a:xfrm>
          <a:prstGeom prst="rect">
            <a:avLst/>
          </a:prstGeom>
        </p:spPr>
      </p:pic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2C4B237F-1D3E-5D6E-2340-BBADACC6DE4B}"/>
              </a:ext>
            </a:extLst>
          </p:cNvPr>
          <p:cNvGrpSpPr/>
          <p:nvPr userDrawn="1"/>
        </p:nvGrpSpPr>
        <p:grpSpPr>
          <a:xfrm>
            <a:off x="-990690" y="1772087"/>
            <a:ext cx="10849815" cy="6178838"/>
            <a:chOff x="-13375759" y="5567763"/>
            <a:chExt cx="10849815" cy="6178838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8DB640FA-9CF3-32D3-C002-A98F1AE2B61D}"/>
                </a:ext>
              </a:extLst>
            </p:cNvPr>
            <p:cNvSpPr/>
            <p:nvPr/>
          </p:nvSpPr>
          <p:spPr>
            <a:xfrm rot="900000">
              <a:off x="-13375759" y="5567763"/>
              <a:ext cx="10849815" cy="6178836"/>
            </a:xfrm>
            <a:custGeom>
              <a:avLst/>
              <a:gdLst>
                <a:gd name="connsiteX0" fmla="*/ 0 w 10099103"/>
                <a:gd name="connsiteY0" fmla="*/ 0 h 5805182"/>
                <a:gd name="connsiteX1" fmla="*/ 10099103 w 10099103"/>
                <a:gd name="connsiteY1" fmla="*/ 0 h 5805182"/>
                <a:gd name="connsiteX2" fmla="*/ 10099103 w 10099103"/>
                <a:gd name="connsiteY2" fmla="*/ 5805182 h 5805182"/>
                <a:gd name="connsiteX3" fmla="*/ 0 w 10099103"/>
                <a:gd name="connsiteY3" fmla="*/ 5805182 h 5805182"/>
                <a:gd name="connsiteX4" fmla="*/ 0 w 10099103"/>
                <a:gd name="connsiteY4" fmla="*/ 0 h 5805182"/>
                <a:gd name="connsiteX0" fmla="*/ 0 w 10099103"/>
                <a:gd name="connsiteY0" fmla="*/ 0 h 5805182"/>
                <a:gd name="connsiteX1" fmla="*/ 10099103 w 10099103"/>
                <a:gd name="connsiteY1" fmla="*/ 0 h 5805182"/>
                <a:gd name="connsiteX2" fmla="*/ 10095599 w 10099103"/>
                <a:gd name="connsiteY2" fmla="*/ 3450487 h 5805182"/>
                <a:gd name="connsiteX3" fmla="*/ 0 w 10099103"/>
                <a:gd name="connsiteY3" fmla="*/ 5805182 h 5805182"/>
                <a:gd name="connsiteX4" fmla="*/ 0 w 10099103"/>
                <a:gd name="connsiteY4" fmla="*/ 0 h 5805182"/>
                <a:gd name="connsiteX0" fmla="*/ 0 w 10099103"/>
                <a:gd name="connsiteY0" fmla="*/ 0 h 5751315"/>
                <a:gd name="connsiteX1" fmla="*/ 10099103 w 10099103"/>
                <a:gd name="connsiteY1" fmla="*/ 0 h 5751315"/>
                <a:gd name="connsiteX2" fmla="*/ 10095599 w 10099103"/>
                <a:gd name="connsiteY2" fmla="*/ 3450487 h 5751315"/>
                <a:gd name="connsiteX3" fmla="*/ 1515627 w 10099103"/>
                <a:gd name="connsiteY3" fmla="*/ 5751315 h 5751315"/>
                <a:gd name="connsiteX4" fmla="*/ 0 w 10099103"/>
                <a:gd name="connsiteY4" fmla="*/ 0 h 5751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99103" h="5751315">
                  <a:moveTo>
                    <a:pt x="0" y="0"/>
                  </a:moveTo>
                  <a:lnTo>
                    <a:pt x="10099103" y="0"/>
                  </a:lnTo>
                  <a:lnTo>
                    <a:pt x="10095599" y="3450487"/>
                  </a:lnTo>
                  <a:lnTo>
                    <a:pt x="1515627" y="5751315"/>
                  </a:lnTo>
                  <a:lnTo>
                    <a:pt x="0" y="0"/>
                  </a:lnTo>
                  <a:close/>
                </a:path>
              </a:pathLst>
            </a:custGeom>
            <a:blipFill dpi="0" rotWithShape="0"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" name="Rechteck 3">
              <a:extLst>
                <a:ext uri="{FF2B5EF4-FFF2-40B4-BE49-F238E27FC236}">
                  <a16:creationId xmlns:a16="http://schemas.microsoft.com/office/drawing/2014/main" id="{7FBA1A7C-1D52-055F-6AA8-6300F602C51C}"/>
                </a:ext>
              </a:extLst>
            </p:cNvPr>
            <p:cNvSpPr/>
            <p:nvPr/>
          </p:nvSpPr>
          <p:spPr>
            <a:xfrm rot="900000">
              <a:off x="-13375759" y="5567765"/>
              <a:ext cx="10849815" cy="6178836"/>
            </a:xfrm>
            <a:custGeom>
              <a:avLst/>
              <a:gdLst>
                <a:gd name="connsiteX0" fmla="*/ 0 w 10099103"/>
                <a:gd name="connsiteY0" fmla="*/ 0 h 5805182"/>
                <a:gd name="connsiteX1" fmla="*/ 10099103 w 10099103"/>
                <a:gd name="connsiteY1" fmla="*/ 0 h 5805182"/>
                <a:gd name="connsiteX2" fmla="*/ 10099103 w 10099103"/>
                <a:gd name="connsiteY2" fmla="*/ 5805182 h 5805182"/>
                <a:gd name="connsiteX3" fmla="*/ 0 w 10099103"/>
                <a:gd name="connsiteY3" fmla="*/ 5805182 h 5805182"/>
                <a:gd name="connsiteX4" fmla="*/ 0 w 10099103"/>
                <a:gd name="connsiteY4" fmla="*/ 0 h 5805182"/>
                <a:gd name="connsiteX0" fmla="*/ 0 w 10099103"/>
                <a:gd name="connsiteY0" fmla="*/ 0 h 5805182"/>
                <a:gd name="connsiteX1" fmla="*/ 10099103 w 10099103"/>
                <a:gd name="connsiteY1" fmla="*/ 0 h 5805182"/>
                <a:gd name="connsiteX2" fmla="*/ 10095599 w 10099103"/>
                <a:gd name="connsiteY2" fmla="*/ 3450487 h 5805182"/>
                <a:gd name="connsiteX3" fmla="*/ 0 w 10099103"/>
                <a:gd name="connsiteY3" fmla="*/ 5805182 h 5805182"/>
                <a:gd name="connsiteX4" fmla="*/ 0 w 10099103"/>
                <a:gd name="connsiteY4" fmla="*/ 0 h 5805182"/>
                <a:gd name="connsiteX0" fmla="*/ 0 w 10099103"/>
                <a:gd name="connsiteY0" fmla="*/ 0 h 5751315"/>
                <a:gd name="connsiteX1" fmla="*/ 10099103 w 10099103"/>
                <a:gd name="connsiteY1" fmla="*/ 0 h 5751315"/>
                <a:gd name="connsiteX2" fmla="*/ 10095599 w 10099103"/>
                <a:gd name="connsiteY2" fmla="*/ 3450487 h 5751315"/>
                <a:gd name="connsiteX3" fmla="*/ 1515627 w 10099103"/>
                <a:gd name="connsiteY3" fmla="*/ 5751315 h 5751315"/>
                <a:gd name="connsiteX4" fmla="*/ 0 w 10099103"/>
                <a:gd name="connsiteY4" fmla="*/ 0 h 5751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99103" h="5751315">
                  <a:moveTo>
                    <a:pt x="0" y="0"/>
                  </a:moveTo>
                  <a:lnTo>
                    <a:pt x="10099103" y="0"/>
                  </a:lnTo>
                  <a:lnTo>
                    <a:pt x="10095599" y="3450487"/>
                  </a:lnTo>
                  <a:lnTo>
                    <a:pt x="1515627" y="57513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599C">
                <a:alpha val="7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771283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i="1" kern="1200" baseline="0">
          <a:solidFill>
            <a:srgbClr val="00599C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231">
          <p15:clr>
            <a:srgbClr val="F26B43"/>
          </p15:clr>
        </p15:guide>
        <p15:guide id="4" orient="horz" pos="4088">
          <p15:clr>
            <a:srgbClr val="F26B43"/>
          </p15:clr>
        </p15:guide>
        <p15:guide id="5" pos="7222">
          <p15:clr>
            <a:srgbClr val="F26B43"/>
          </p15:clr>
        </p15:guide>
        <p15:guide id="6" pos="23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AA32A68-51B0-73DF-A0C5-0F2A3798E8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860507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83" imgH="384" progId="TCLayout.ActiveDocument.1">
                  <p:embed/>
                </p:oleObj>
              </mc:Choice>
              <mc:Fallback>
                <p:oleObj name="think-cell Folie" r:id="rId8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B01371E-4544-75B8-D485-0F870F5045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362" y="831622"/>
            <a:ext cx="1051560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F1DAA8A-A072-30FB-5A29-BEDF1BA61E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4C77381-C8DE-AA6A-B090-EC30F9DC73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71849" y="6384281"/>
            <a:ext cx="7981949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00599C"/>
                </a:solidFill>
                <a:latin typeface="TSTAR" panose="020B060402020202020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7797124-5E91-158D-04D9-D0ECF53882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5620" y="6384281"/>
            <a:ext cx="2579280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rgbClr val="00599C"/>
                </a:solidFill>
                <a:latin typeface="TSTAR" panose="020B060402020202020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pic>
        <p:nvPicPr>
          <p:cNvPr id="17" name="Inhaltsplatzhalter 8">
            <a:extLst>
              <a:ext uri="{FF2B5EF4-FFF2-40B4-BE49-F238E27FC236}">
                <a16:creationId xmlns:a16="http://schemas.microsoft.com/office/drawing/2014/main" id="{934346E9-1737-7679-FB00-125D562B225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81660" y="676124"/>
            <a:ext cx="744279" cy="709391"/>
          </a:xfrm>
          <a:prstGeom prst="rect">
            <a:avLst/>
          </a:prstGeom>
        </p:spPr>
      </p:pic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58D1D845-7E4B-2EC9-45C4-EC760D5BE5B6}"/>
              </a:ext>
            </a:extLst>
          </p:cNvPr>
          <p:cNvCxnSpPr>
            <a:cxnSpLocks/>
          </p:cNvCxnSpPr>
          <p:nvPr userDrawn="1"/>
        </p:nvCxnSpPr>
        <p:spPr>
          <a:xfrm>
            <a:off x="509920" y="621399"/>
            <a:ext cx="0" cy="5615202"/>
          </a:xfrm>
          <a:prstGeom prst="line">
            <a:avLst/>
          </a:prstGeom>
          <a:noFill/>
          <a:ln w="28575" cap="flat" cmpd="sng" algn="ctr">
            <a:solidFill>
              <a:srgbClr val="00599C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4432131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90" r:id="rId3"/>
    <p:sldLayoutId id="2147483677" r:id="rId4"/>
    <p:sldLayoutId id="2147483678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kern="1200">
          <a:solidFill>
            <a:srgbClr val="00599C"/>
          </a:solidFill>
          <a:latin typeface="TSTAR" panose="020B060402020202020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A5E5612-9CE0-1B4F-EC83-B4C92B3DA6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4066602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383" imgH="384" progId="TCLayout.ActiveDocument.1">
                  <p:embed/>
                </p:oleObj>
              </mc:Choice>
              <mc:Fallback>
                <p:oleObj name="think-cell Folie" r:id="rId10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B01371E-4544-75B8-D485-0F870F5045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362" y="831622"/>
            <a:ext cx="1051560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F1DAA8A-A072-30FB-5A29-BEDF1BA61E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4C77381-C8DE-AA6A-B090-EC30F9DC73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71849" y="6384281"/>
            <a:ext cx="7981949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00599C"/>
                </a:solidFill>
                <a:latin typeface="TSTAR" panose="020B060402020202020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7797124-5E91-158D-04D9-D0ECF53882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5620" y="6384281"/>
            <a:ext cx="2579280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rgbClr val="00599C"/>
                </a:solidFill>
                <a:latin typeface="TSTAR" panose="020B060402020202020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pic>
        <p:nvPicPr>
          <p:cNvPr id="17" name="Inhaltsplatzhalter 8">
            <a:extLst>
              <a:ext uri="{FF2B5EF4-FFF2-40B4-BE49-F238E27FC236}">
                <a16:creationId xmlns:a16="http://schemas.microsoft.com/office/drawing/2014/main" id="{934346E9-1737-7679-FB00-125D562B2258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81660" y="676124"/>
            <a:ext cx="744279" cy="709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15204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92" r:id="rId5"/>
    <p:sldLayoutId id="2147483693" r:id="rId6"/>
    <p:sldLayoutId id="2147483694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kern="1200">
          <a:solidFill>
            <a:srgbClr val="00599C"/>
          </a:solidFill>
          <a:latin typeface="TSTAR" panose="020B060402020202020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16AFAC0-93FB-3081-FDF7-18A43127E1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812580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83" imgH="384" progId="TCLayout.ActiveDocument.1">
                  <p:embed/>
                </p:oleObj>
              </mc:Choice>
              <mc:Fallback>
                <p:oleObj name="think-cell Folie" r:id="rId8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841528"/>
            <a:ext cx="12201525" cy="1016472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6026" y="6260659"/>
            <a:ext cx="2072098" cy="313852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20274" y="6260659"/>
            <a:ext cx="2038352" cy="374598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19595" y="166594"/>
            <a:ext cx="2173955" cy="93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68774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30A5D2-BE97-F26E-B4E5-B3632E5F1A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703354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383" imgH="384" progId="TCLayout.ActiveDocument.1">
                  <p:embed/>
                </p:oleObj>
              </mc:Choice>
              <mc:Fallback>
                <p:oleObj name="think-cell Folie" r:id="rId13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ußzeilenplatzhalter 8"/>
          <p:cNvSpPr txBox="1">
            <a:spLocks/>
          </p:cNvSpPr>
          <p:nvPr/>
        </p:nvSpPr>
        <p:spPr>
          <a:xfrm>
            <a:off x="504825" y="6583363"/>
            <a:ext cx="1096963" cy="207962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marL="0" algn="l" defTabSz="457200" rtl="0" eaLnBrk="1" latinLnBrk="0" hangingPunct="1">
              <a:defRPr sz="800" kern="1200">
                <a:solidFill>
                  <a:srgbClr val="005A9B"/>
                </a:solidFill>
                <a:latin typeface="Arial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/>
          </a:p>
        </p:txBody>
      </p:sp>
      <p:sp>
        <p:nvSpPr>
          <p:cNvPr id="2052" name="Titelplatzhalter 16"/>
          <p:cNvSpPr>
            <a:spLocks noGrp="1"/>
          </p:cNvSpPr>
          <p:nvPr>
            <p:ph type="title"/>
          </p:nvPr>
        </p:nvSpPr>
        <p:spPr bwMode="auto">
          <a:xfrm>
            <a:off x="393700" y="406400"/>
            <a:ext cx="9753600" cy="328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2053" name="Textplatzhalter 17"/>
          <p:cNvSpPr>
            <a:spLocks noGrp="1"/>
          </p:cNvSpPr>
          <p:nvPr>
            <p:ph type="body" idx="1"/>
          </p:nvPr>
        </p:nvSpPr>
        <p:spPr bwMode="auto">
          <a:xfrm>
            <a:off x="633413" y="1766888"/>
            <a:ext cx="11064875" cy="4741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0" name="Foliennummernplatzhalter 10"/>
          <p:cNvSpPr>
            <a:spLocks noGrp="1"/>
          </p:cNvSpPr>
          <p:nvPr>
            <p:ph type="sldNum" sz="quarter" idx="4"/>
          </p:nvPr>
        </p:nvSpPr>
        <p:spPr>
          <a:xfrm>
            <a:off x="393700" y="6627813"/>
            <a:ext cx="255588" cy="20796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 baseline="0" smtClean="0">
                <a:solidFill>
                  <a:srgbClr val="005A9B"/>
                </a:solidFill>
                <a:latin typeface="Arial"/>
                <a:ea typeface="+mn-ea"/>
                <a:cs typeface="+mn-cs"/>
              </a:defRPr>
            </a:lvl1pPr>
          </a:lstStyle>
          <a:p>
            <a:pPr>
              <a:defRPr/>
            </a:pPr>
            <a:fld id="{F4603CEF-B396-964A-9571-AA9A38748142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pic>
        <p:nvPicPr>
          <p:cNvPr id="2055" name="Bild 8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95213"/>
          <a:stretch>
            <a:fillRect/>
          </a:stretch>
        </p:blipFill>
        <p:spPr bwMode="auto">
          <a:xfrm>
            <a:off x="0" y="0"/>
            <a:ext cx="4381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6" name="Textfeld 13"/>
          <p:cNvSpPr txBox="1">
            <a:spLocks noChangeArrowheads="1"/>
          </p:cNvSpPr>
          <p:nvPr userDrawn="1"/>
        </p:nvSpPr>
        <p:spPr bwMode="auto">
          <a:xfrm>
            <a:off x="633413" y="6627813"/>
            <a:ext cx="8224837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de-DE" sz="800" dirty="0"/>
              <a:t> Technische Hochschule Ingolstadt</a:t>
            </a:r>
          </a:p>
        </p:txBody>
      </p:sp>
      <p:pic>
        <p:nvPicPr>
          <p:cNvPr id="9" name="Bild 6"/>
          <p:cNvPicPr>
            <a:picLocks noChangeAspect="1"/>
          </p:cNvPicPr>
          <p:nvPr userDrawn="1"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8378" t="3003" b="83303"/>
          <a:stretch/>
        </p:blipFill>
        <p:spPr>
          <a:xfrm>
            <a:off x="10963703" y="101149"/>
            <a:ext cx="1062681" cy="939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0443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</p:sldLayoutIdLst>
  <p:hf hdr="0" dt="0"/>
  <p:txStyles>
    <p:titleStyle>
      <a:lvl1pPr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2pPr>
      <a:lvl3pPr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3pPr>
      <a:lvl4pPr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4pPr>
      <a:lvl5pPr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indent="358775" algn="l" defTabSz="457200" rtl="0" fontAlgn="base">
        <a:lnSpc>
          <a:spcPct val="150000"/>
        </a:lnSpc>
        <a:spcBef>
          <a:spcPct val="0"/>
        </a:spcBef>
        <a:spcAft>
          <a:spcPct val="0"/>
        </a:spcAft>
        <a:buSzPct val="100000"/>
        <a:buBlip>
          <a:blip r:embed="rId17"/>
        </a:buBlip>
        <a:defRPr b="1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358775" indent="358775" algn="l" defTabSz="457200" rtl="0" fontAlgn="base">
        <a:lnSpc>
          <a:spcPct val="150000"/>
        </a:lnSpc>
        <a:spcBef>
          <a:spcPct val="0"/>
        </a:spcBef>
        <a:spcAft>
          <a:spcPct val="0"/>
        </a:spcAft>
        <a:buSzPct val="100000"/>
        <a:buBlip>
          <a:blip r:embed="rId17"/>
        </a:buBlip>
        <a:defRPr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719138" indent="358775" algn="l" defTabSz="457200" rtl="0" fontAlgn="base">
        <a:lnSpc>
          <a:spcPct val="150000"/>
        </a:lnSpc>
        <a:spcBef>
          <a:spcPct val="0"/>
        </a:spcBef>
        <a:spcAft>
          <a:spcPct val="0"/>
        </a:spcAft>
        <a:buSzPct val="100000"/>
        <a:buBlip>
          <a:blip r:embed="rId17"/>
        </a:buBlip>
        <a:defRPr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079500" indent="358775" algn="l" defTabSz="457200" rtl="0" fontAlgn="base">
        <a:lnSpc>
          <a:spcPct val="150000"/>
        </a:lnSpc>
        <a:spcBef>
          <a:spcPct val="0"/>
        </a:spcBef>
        <a:spcAft>
          <a:spcPct val="0"/>
        </a:spcAft>
        <a:buSzPct val="100000"/>
        <a:buBlip>
          <a:blip r:embed="rId17"/>
        </a:buBlip>
        <a:defRPr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439863" indent="358775" algn="l" defTabSz="457200" rtl="0" fontAlgn="base">
        <a:lnSpc>
          <a:spcPct val="150000"/>
        </a:lnSpc>
        <a:spcBef>
          <a:spcPct val="0"/>
        </a:spcBef>
        <a:spcAft>
          <a:spcPct val="0"/>
        </a:spcAft>
        <a:buSzPct val="100000"/>
        <a:buBlip>
          <a:blip r:embed="rId17"/>
        </a:buBlip>
        <a:defRPr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kalmanfilter.net/multiSummary.html" TargetMode="External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kalmanfilter.net/multiSummary.html" TargetMode="External"/><Relationship Id="rId2" Type="http://schemas.openxmlformats.org/officeDocument/2006/relationships/hyperlink" Target="https://www.bosch-mobility.com/en/solutions/sensors/sensor-data-fusion/" TargetMode="Externa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bosch-mobility.com/en/solutions/sensors/sensor-data-fusion/" TargetMode="External"/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>
            <a:extLst>
              <a:ext uri="{FF2B5EF4-FFF2-40B4-BE49-F238E27FC236}">
                <a16:creationId xmlns:a16="http://schemas.microsoft.com/office/drawing/2014/main" id="{524F06F1-EA4C-B9B0-7538-76CF95027C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65922" y="3429000"/>
            <a:ext cx="6574850" cy="1044934"/>
          </a:xfrm>
        </p:spPr>
        <p:txBody>
          <a:bodyPr>
            <a:noAutofit/>
          </a:bodyPr>
          <a:lstStyle/>
          <a:p>
            <a:pPr algn="just"/>
            <a:r>
              <a:rPr lang="de-DE" sz="2800" dirty="0" err="1">
                <a:cs typeface="Times New Roman" panose="02020603050405020304" pitchFamily="18" charset="0"/>
              </a:rPr>
              <a:t>Approaches</a:t>
            </a:r>
            <a:r>
              <a:rPr lang="de-DE" sz="2800" dirty="0">
                <a:cs typeface="Times New Roman" panose="02020603050405020304" pitchFamily="18" charset="0"/>
              </a:rPr>
              <a:t> </a:t>
            </a:r>
            <a:r>
              <a:rPr lang="de-DE" sz="2800" dirty="0" err="1">
                <a:cs typeface="Times New Roman" panose="02020603050405020304" pitchFamily="18" charset="0"/>
              </a:rPr>
              <a:t>for</a:t>
            </a:r>
            <a:r>
              <a:rPr lang="de-DE" sz="2800" dirty="0">
                <a:cs typeface="Times New Roman" panose="02020603050405020304" pitchFamily="18" charset="0"/>
              </a:rPr>
              <a:t> Sensor Data Fusion</a:t>
            </a:r>
          </a:p>
          <a:p>
            <a:pPr algn="just"/>
            <a:endParaRPr lang="de-DE" sz="2800" dirty="0">
              <a:cs typeface="Times New Roman" panose="02020603050405020304" pitchFamily="18" charset="0"/>
            </a:endParaRPr>
          </a:p>
        </p:txBody>
      </p:sp>
      <p:sp>
        <p:nvSpPr>
          <p:cNvPr id="4" name="Datumsplatzhalter 9">
            <a:extLst>
              <a:ext uri="{FF2B5EF4-FFF2-40B4-BE49-F238E27FC236}">
                <a16:creationId xmlns:a16="http://schemas.microsoft.com/office/drawing/2014/main" id="{324228CE-4DD2-8405-EB58-E8F78B4D30F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829386" y="6205422"/>
            <a:ext cx="1520688" cy="365125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600" b="1">
                <a:solidFill>
                  <a:srgbClr val="00599C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ate: 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17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12.2024</a:t>
            </a:r>
          </a:p>
        </p:txBody>
      </p:sp>
      <p:sp>
        <p:nvSpPr>
          <p:cNvPr id="5" name="Untertitel 2">
            <a:extLst>
              <a:ext uri="{FF2B5EF4-FFF2-40B4-BE49-F238E27FC236}">
                <a16:creationId xmlns:a16="http://schemas.microsoft.com/office/drawing/2014/main" id="{1982C0BF-129F-D9F3-8110-B6B179E9DEC5}"/>
              </a:ext>
            </a:extLst>
          </p:cNvPr>
          <p:cNvSpPr txBox="1">
            <a:spLocks/>
          </p:cNvSpPr>
          <p:nvPr/>
        </p:nvSpPr>
        <p:spPr>
          <a:xfrm>
            <a:off x="10038522" y="5685183"/>
            <a:ext cx="1520687" cy="520239"/>
          </a:xfrm>
          <a:prstGeom prst="rect">
            <a:avLst/>
          </a:prstGeom>
        </p:spPr>
        <p:txBody>
          <a:bodyPr lIns="0" tIns="0" rIns="0" anchor="ctr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8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dirty="0">
                <a:solidFill>
                  <a:srgbClr val="00599C"/>
                </a:solidFill>
                <a:latin typeface="+mn-lt"/>
                <a:cs typeface="Arial" panose="020B0604020202020204" pitchFamily="34" charset="0"/>
              </a:rPr>
              <a:t> </a:t>
            </a:r>
          </a:p>
          <a:p>
            <a:r>
              <a:rPr lang="de-DE" sz="1400" dirty="0">
                <a:solidFill>
                  <a:srgbClr val="00599C"/>
                </a:solidFill>
                <a:latin typeface="+mn-lt"/>
                <a:cs typeface="Arial" panose="020B0604020202020204" pitchFamily="34" charset="0"/>
              </a:rPr>
              <a:t>Md Fuad Hasan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D531D08A-4609-6F0B-C88A-9BBF9E0FAC71}"/>
              </a:ext>
            </a:extLst>
          </p:cNvPr>
          <p:cNvSpPr txBox="1"/>
          <p:nvPr/>
        </p:nvSpPr>
        <p:spPr>
          <a:xfrm>
            <a:off x="9334501" y="638085"/>
            <a:ext cx="390524" cy="1384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00" dirty="0">
                <a:solidFill>
                  <a:srgbClr val="005A96"/>
                </a:solidFill>
              </a:rPr>
              <a:t>12.06.2024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FB12511-48C9-3020-64F8-BAA0E2F32A18}"/>
              </a:ext>
            </a:extLst>
          </p:cNvPr>
          <p:cNvSpPr txBox="1"/>
          <p:nvPr/>
        </p:nvSpPr>
        <p:spPr>
          <a:xfrm>
            <a:off x="665922" y="4375206"/>
            <a:ext cx="39911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  <a:latin typeface="+mj-lt"/>
              </a:rPr>
              <a:t>Supervisor: Prof. </a:t>
            </a:r>
            <a:r>
              <a:rPr lang="en-GB" dirty="0" err="1">
                <a:solidFill>
                  <a:schemeClr val="bg1"/>
                </a:solidFill>
                <a:latin typeface="+mj-lt"/>
              </a:rPr>
              <a:t>Dr.</a:t>
            </a:r>
            <a:r>
              <a:rPr lang="en-GB" dirty="0">
                <a:solidFill>
                  <a:schemeClr val="bg1"/>
                </a:solidFill>
                <a:latin typeface="+mj-lt"/>
              </a:rPr>
              <a:t> </a:t>
            </a:r>
            <a:r>
              <a:rPr lang="en-GB" dirty="0" err="1">
                <a:solidFill>
                  <a:schemeClr val="bg1"/>
                </a:solidFill>
                <a:latin typeface="+mj-lt"/>
              </a:rPr>
              <a:t>Ondrej</a:t>
            </a:r>
            <a:r>
              <a:rPr lang="en-GB" dirty="0">
                <a:solidFill>
                  <a:schemeClr val="bg1"/>
                </a:solidFill>
                <a:latin typeface="+mj-lt"/>
              </a:rPr>
              <a:t> </a:t>
            </a:r>
            <a:r>
              <a:rPr lang="en-GB" dirty="0" err="1">
                <a:solidFill>
                  <a:schemeClr val="bg1"/>
                </a:solidFill>
                <a:latin typeface="+mj-lt"/>
              </a:rPr>
              <a:t>Vaculin</a:t>
            </a:r>
            <a:endParaRPr lang="en-DE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367712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5FEEEF3-9D87-BD93-090D-201ADD7BF92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escription: Combines noisy sensor data with system models to estimate states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728711D-52FD-19C3-B34B-537F804BC3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44EEB7F-2A44-A4F4-2F90-5014C5F4C5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te Estimation and Kalman Filtering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7FAD1B3-FEB7-6B7E-F80B-446C71CEB42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Approaches For Sensor Data Fusion</a:t>
            </a:r>
          </a:p>
          <a:p>
            <a:endParaRPr lang="en-US" dirty="0"/>
          </a:p>
        </p:txBody>
      </p:sp>
      <p:pic>
        <p:nvPicPr>
          <p:cNvPr id="7" name="Picture 6" descr="A diagram of a mathematical equation&#10;&#10;Description automatically generated">
            <a:extLst>
              <a:ext uri="{FF2B5EF4-FFF2-40B4-BE49-F238E27FC236}">
                <a16:creationId xmlns:a16="http://schemas.microsoft.com/office/drawing/2014/main" id="{3847B367-F2DA-C4BA-709B-430E6DFBF1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9418" y="2222671"/>
            <a:ext cx="6612163" cy="3878543"/>
          </a:xfrm>
          <a:prstGeom prst="rect">
            <a:avLst/>
          </a:prstGeom>
        </p:spPr>
      </p:pic>
      <p:sp>
        <p:nvSpPr>
          <p:cNvPr id="8" name="Footer Placeholder 8">
            <a:extLst>
              <a:ext uri="{FF2B5EF4-FFF2-40B4-BE49-F238E27FC236}">
                <a16:creationId xmlns:a16="http://schemas.microsoft.com/office/drawing/2014/main" id="{71F4453E-D513-2BD8-464B-2207586C7D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84281"/>
            <a:ext cx="10958180" cy="396000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[3]</a:t>
            </a:r>
            <a:r>
              <a:rPr lang="en-US" dirty="0">
                <a:solidFill>
                  <a:schemeClr val="tx1"/>
                </a:solidFill>
              </a:rPr>
              <a:t> R. Groves, "</a:t>
            </a:r>
            <a:r>
              <a:rPr lang="en-US" dirty="0" err="1">
                <a:solidFill>
                  <a:schemeClr val="tx1"/>
                </a:solidFill>
              </a:rPr>
              <a:t>Multisensor</a:t>
            </a:r>
            <a:r>
              <a:rPr lang="en-US" dirty="0">
                <a:solidFill>
                  <a:schemeClr val="tx1"/>
                </a:solidFill>
              </a:rPr>
              <a:t> Data Fusion: Kalman Filter Summary," [Online]. Available: </a:t>
            </a:r>
            <a:r>
              <a:rPr lang="en-US" dirty="0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kalmanfilter.net/multiSummary.html</a:t>
            </a:r>
            <a:r>
              <a:rPr lang="en-US" dirty="0">
                <a:solidFill>
                  <a:schemeClr val="tx1"/>
                </a:solidFill>
              </a:rPr>
              <a:t>. [Accessed: 14-Dec-2024].</a:t>
            </a:r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244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40684EB-BAE6-37A1-5DB8-0B9C14741B7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2200" b="1" dirty="0"/>
              <a:t>Key Features:</a:t>
            </a:r>
            <a:endParaRPr lang="en-US" sz="22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/>
              <a:t>Recursive updat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/>
              <a:t>Handles Gaussian noise efficiently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200" b="1" dirty="0"/>
              <a:t>Limitations</a:t>
            </a:r>
            <a:r>
              <a:rPr lang="en-US" b="1" dirty="0"/>
              <a:t>:</a:t>
            </a:r>
            <a:r>
              <a:rPr lang="en-US" dirty="0"/>
              <a:t> Assumes noise is Gaussian, non-optimal for non-linear system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200" b="1" dirty="0"/>
              <a:t>Benefits</a:t>
            </a:r>
            <a:r>
              <a:rPr lang="en-US" b="1" dirty="0"/>
              <a:t>: P</a:t>
            </a:r>
            <a:r>
              <a:rPr lang="en-US" dirty="0"/>
              <a:t>erforms to find optimal state estimates and easily handle noisy measurements 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81F30A1-D1EE-FA25-CDD5-7AE60773B1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01C608B-5C70-0D94-1409-87C5377AAC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te Estimation and Kalman Filtering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B06ABA1-76C6-3025-3A60-49AF71903DD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Approaches For Sensor Data Fus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31462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DC1477C-5930-88E2-005E-9B065BA98A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7220" y="1825625"/>
            <a:ext cx="10736580" cy="4351338"/>
          </a:xfrm>
        </p:spPr>
        <p:txBody>
          <a:bodyPr>
            <a:normAutofit/>
          </a:bodyPr>
          <a:lstStyle/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F766160-0C11-FAAE-831E-D672A748A6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CE95378-8D60-6AE6-8274-4F5DE2825A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yesian Approach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0C3E806-49F7-3BA3-9DCA-F350756AE9E4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Approaches For Sensor Data Fusion</a:t>
            </a:r>
          </a:p>
          <a:p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EF2D568-399F-95AD-7ACB-6C30823A088B}"/>
              </a:ext>
            </a:extLst>
          </p:cNvPr>
          <p:cNvSpPr/>
          <p:nvPr/>
        </p:nvSpPr>
        <p:spPr>
          <a:xfrm>
            <a:off x="617220" y="1825625"/>
            <a:ext cx="7536180" cy="9535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2200" b="1" dirty="0"/>
              <a:t>Description</a:t>
            </a:r>
            <a:r>
              <a:rPr lang="en-US" b="1" dirty="0"/>
              <a:t>:</a:t>
            </a:r>
            <a:r>
              <a:rPr lang="en-US" dirty="0"/>
              <a:t> </a:t>
            </a:r>
            <a:r>
              <a:rPr lang="en-US" sz="2000" dirty="0"/>
              <a:t>Uses probabilistic methods to manage uncertainty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54782D1-4DD2-2343-E80F-245096C4370D}"/>
              </a:ext>
            </a:extLst>
          </p:cNvPr>
          <p:cNvSpPr/>
          <p:nvPr/>
        </p:nvSpPr>
        <p:spPr>
          <a:xfrm>
            <a:off x="617220" y="2590800"/>
            <a:ext cx="3907971" cy="25581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200" b="1" dirty="0">
                <a:solidFill>
                  <a:schemeClr val="tx1"/>
                </a:solidFill>
              </a:rPr>
              <a:t>Steps: </a:t>
            </a:r>
          </a:p>
          <a:p>
            <a:r>
              <a:rPr lang="en-US" sz="2000" dirty="0">
                <a:solidFill>
                  <a:schemeClr val="tx1"/>
                </a:solidFill>
                <a:latin typeface="NimbusRomNo9L"/>
              </a:rPr>
              <a:t>1)   </a:t>
            </a:r>
            <a:r>
              <a:rPr lang="en-US" sz="2000" dirty="0">
                <a:solidFill>
                  <a:schemeClr val="tx1"/>
                </a:solidFill>
                <a:effectLst/>
                <a:latin typeface="NimbusRomNo9L"/>
              </a:rPr>
              <a:t>Prior Definition </a:t>
            </a:r>
            <a:endParaRPr lang="en-US" sz="2000" dirty="0">
              <a:solidFill>
                <a:schemeClr val="tx1"/>
              </a:solidFill>
              <a:effectLst/>
            </a:endParaRPr>
          </a:p>
          <a:p>
            <a:pPr marL="0" indent="0">
              <a:buNone/>
            </a:pPr>
            <a:r>
              <a:rPr lang="en-US" sz="2000" dirty="0">
                <a:solidFill>
                  <a:schemeClr val="tx1"/>
                </a:solidFill>
                <a:effectLst/>
                <a:latin typeface="NimbusRomNo9L"/>
              </a:rPr>
              <a:t>2)  Acquisition of Sensor Data </a:t>
            </a:r>
            <a:endParaRPr lang="en-US" sz="2000" dirty="0">
              <a:solidFill>
                <a:schemeClr val="tx1"/>
              </a:solidFill>
              <a:effectLst/>
            </a:endParaRPr>
          </a:p>
          <a:p>
            <a:pPr marL="0" indent="0">
              <a:buNone/>
            </a:pPr>
            <a:r>
              <a:rPr lang="en-US" sz="2000" dirty="0">
                <a:solidFill>
                  <a:schemeClr val="tx1"/>
                </a:solidFill>
                <a:effectLst/>
                <a:latin typeface="NimbusRomNo9L"/>
              </a:rPr>
              <a:t>3)  Likelihood Calculation </a:t>
            </a:r>
            <a:endParaRPr lang="en-US" sz="2000" dirty="0">
              <a:solidFill>
                <a:schemeClr val="tx1"/>
              </a:solidFill>
              <a:effectLst/>
            </a:endParaRPr>
          </a:p>
          <a:p>
            <a:pPr marL="0" indent="0">
              <a:buNone/>
            </a:pPr>
            <a:r>
              <a:rPr lang="en-US" sz="2000" dirty="0">
                <a:solidFill>
                  <a:schemeClr val="tx1"/>
                </a:solidFill>
                <a:effectLst/>
                <a:latin typeface="NimbusRomNo9L"/>
              </a:rPr>
              <a:t>4)  Bayesian Update </a:t>
            </a:r>
            <a:endParaRPr lang="en-US" sz="2000" dirty="0">
              <a:solidFill>
                <a:schemeClr val="tx1"/>
              </a:solidFill>
              <a:effectLst/>
            </a:endParaRPr>
          </a:p>
          <a:p>
            <a:pPr marL="0" indent="0">
              <a:buNone/>
            </a:pPr>
            <a:r>
              <a:rPr lang="en-US" sz="2000" dirty="0">
                <a:solidFill>
                  <a:schemeClr val="tx1"/>
                </a:solidFill>
                <a:effectLst/>
                <a:latin typeface="NimbusRomNo9L"/>
              </a:rPr>
              <a:t>5)  Fusion of Data </a:t>
            </a:r>
            <a:endParaRPr lang="en-US" sz="2000" dirty="0">
              <a:solidFill>
                <a:schemeClr val="tx1"/>
              </a:solidFill>
              <a:effectLst/>
            </a:endParaRPr>
          </a:p>
          <a:p>
            <a:pPr marL="0" indent="0">
              <a:buNone/>
            </a:pPr>
            <a:r>
              <a:rPr lang="en-US" sz="2000" dirty="0">
                <a:solidFill>
                  <a:schemeClr val="tx1"/>
                </a:solidFill>
              </a:rPr>
              <a:t>6) </a:t>
            </a:r>
            <a:r>
              <a:rPr lang="en-US" sz="2000" dirty="0">
                <a:solidFill>
                  <a:schemeClr val="tx1"/>
                </a:solidFill>
                <a:effectLst/>
                <a:latin typeface="NimbusRomNo9L"/>
              </a:rPr>
              <a:t>State Estimation </a:t>
            </a:r>
            <a:endParaRPr lang="en-US" sz="200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2000" dirty="0">
                <a:solidFill>
                  <a:schemeClr val="tx1"/>
                </a:solidFill>
              </a:rPr>
              <a:t>7) </a:t>
            </a:r>
            <a:r>
              <a:rPr lang="en-US" sz="2000" dirty="0">
                <a:solidFill>
                  <a:schemeClr val="tx1"/>
                </a:solidFill>
                <a:effectLst/>
                <a:latin typeface="NimbusRomNo9L"/>
              </a:rPr>
              <a:t>Iterative Process</a:t>
            </a:r>
            <a:endParaRPr lang="en-US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31814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67FA514-EAEB-8EBE-2120-F35EF43441A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Description:</a:t>
            </a:r>
            <a:r>
              <a:rPr lang="en-US" dirty="0"/>
              <a:t> Mimics human-like reasoning with</a:t>
            </a:r>
          </a:p>
          <a:p>
            <a:pPr marL="0" indent="0">
              <a:buNone/>
            </a:pPr>
            <a:r>
              <a:rPr lang="en-US" dirty="0"/>
              <a:t>    degrees of truth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0556DB2-1012-77E3-F478-3F169622A8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308F350-F45F-2481-C341-4E630FDF92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Fuzzy logic 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C0636E3-B5FE-F5D1-C8FA-F2C516B02F5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Approaches For Sensor Data Fusion</a:t>
            </a:r>
          </a:p>
          <a:p>
            <a:endParaRPr lang="en-US" dirty="0"/>
          </a:p>
        </p:txBody>
      </p:sp>
      <p:pic>
        <p:nvPicPr>
          <p:cNvPr id="7" name="Picture 6" descr="A diagram of a computer system&#10;&#10;Description automatically generated">
            <a:extLst>
              <a:ext uri="{FF2B5EF4-FFF2-40B4-BE49-F238E27FC236}">
                <a16:creationId xmlns:a16="http://schemas.microsoft.com/office/drawing/2014/main" id="{C1615366-CA8E-2BAC-899C-0D840423ED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4915" y="1469062"/>
            <a:ext cx="4513942" cy="4707901"/>
          </a:xfrm>
          <a:prstGeom prst="rect">
            <a:avLst/>
          </a:prstGeom>
        </p:spPr>
      </p:pic>
      <p:sp>
        <p:nvSpPr>
          <p:cNvPr id="8" name="Footer Placeholder 8">
            <a:extLst>
              <a:ext uri="{FF2B5EF4-FFF2-40B4-BE49-F238E27FC236}">
                <a16:creationId xmlns:a16="http://schemas.microsoft.com/office/drawing/2014/main" id="{10CE582E-2A7F-7226-5628-F304C413E1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84281"/>
            <a:ext cx="10958180" cy="396000"/>
          </a:xfrm>
        </p:spPr>
        <p:txBody>
          <a:bodyPr/>
          <a:lstStyle/>
          <a:p>
            <a:r>
              <a:rPr lang="en-US" sz="1000" dirty="0">
                <a:effectLst/>
                <a:latin typeface="NimbusRomNo9L"/>
              </a:rPr>
              <a:t>P. </a:t>
            </a:r>
            <a:r>
              <a:rPr lang="en-US" sz="1000" dirty="0" err="1">
                <a:effectLst/>
                <a:latin typeface="NimbusRomNo9L"/>
              </a:rPr>
              <a:t>Manjunatha</a:t>
            </a:r>
            <a:r>
              <a:rPr lang="en-US" sz="1000" dirty="0">
                <a:effectLst/>
                <a:latin typeface="NimbusRomNo9L"/>
              </a:rPr>
              <a:t>, A.K. Verma, and A. Srividya. Multi-sensor data fusion in cluster based wireless sensor networks using fuzzy logic method. In </a:t>
            </a:r>
            <a:r>
              <a:rPr lang="en-US" sz="1000" i="1" dirty="0">
                <a:effectLst/>
                <a:latin typeface="NimbusRomNo9L"/>
              </a:rPr>
              <a:t>2008 IEEE Region 10 and the Third international Conference on Industrial and Information Systems</a:t>
            </a:r>
            <a:r>
              <a:rPr lang="en-US" sz="1000" dirty="0">
                <a:effectLst/>
                <a:latin typeface="NimbusRomNo9L"/>
              </a:rPr>
              <a:t>, pages 1–6, 2008. 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8526653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C121E30-A2C1-0858-B958-DB633AB6484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2200" b="1" dirty="0"/>
              <a:t>Steps:</a:t>
            </a:r>
            <a:endParaRPr lang="en-US" sz="22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/>
              <a:t>Fuzzification of input data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/>
              <a:t>Define fuzzy rule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 err="1"/>
              <a:t>Defuzzify</a:t>
            </a:r>
            <a:r>
              <a:rPr lang="en-US" sz="2000" dirty="0"/>
              <a:t> to obtain numerical output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200" b="1" dirty="0"/>
              <a:t>Advantages</a:t>
            </a:r>
            <a:r>
              <a:rPr lang="en-US" b="1" dirty="0"/>
              <a:t>:</a:t>
            </a:r>
            <a:r>
              <a:rPr lang="en-US" dirty="0"/>
              <a:t> Handles ambiguous data, robust to noise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200" b="1" dirty="0"/>
              <a:t>Challenges</a:t>
            </a:r>
            <a:r>
              <a:rPr lang="en-US" b="1" dirty="0"/>
              <a:t>:</a:t>
            </a:r>
            <a:r>
              <a:rPr lang="en-US" dirty="0"/>
              <a:t> Computational complexity for large systems.</a:t>
            </a:r>
          </a:p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F85FDDE-9221-003A-9E17-7878B8C058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BDB7579-8248-715F-D52C-E4C83F7569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zzy logic 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CCC4D2C-437B-3F03-D282-770BD687B90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Approaches For Sensor Data Fus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105121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A4AD8D5-93B4-B9AE-3403-13C4520ECB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95620" y="6384281"/>
            <a:ext cx="2579280" cy="396000"/>
          </a:xfrm>
        </p:spPr>
        <p:txBody>
          <a:bodyPr anchor="ctr">
            <a:norm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b="1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e-DE" b="1" i="0" u="none" strike="noStrike" kern="1200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6C119C9-78EA-3C9C-DC56-E07A0DB00C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460" y="664647"/>
            <a:ext cx="10132340" cy="709391"/>
          </a:xfrm>
        </p:spPr>
        <p:txBody>
          <a:bodyPr anchor="ctr">
            <a:normAutofit/>
          </a:bodyPr>
          <a:lstStyle/>
          <a:p>
            <a:r>
              <a:rPr lang="en-US" dirty="0"/>
              <a:t>Best Approach for Fusion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AF441C3-A646-B8DD-1A46-287D3ABED6A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8200" y="472167"/>
            <a:ext cx="10134600" cy="504825"/>
          </a:xfrm>
        </p:spPr>
        <p:txBody>
          <a:bodyPr>
            <a:normAutofit/>
          </a:bodyPr>
          <a:lstStyle/>
          <a:p>
            <a:r>
              <a:rPr lang="en-US" dirty="0"/>
              <a:t>Approaches For Sensor Data Fusion</a:t>
            </a:r>
          </a:p>
          <a:p>
            <a:endParaRPr lang="en-US" dirty="0"/>
          </a:p>
        </p:txBody>
      </p:sp>
      <p:graphicFrame>
        <p:nvGraphicFramePr>
          <p:cNvPr id="7" name="Content Placeholder 1">
            <a:extLst>
              <a:ext uri="{FF2B5EF4-FFF2-40B4-BE49-F238E27FC236}">
                <a16:creationId xmlns:a16="http://schemas.microsoft.com/office/drawing/2014/main" id="{88BA51E8-E946-AACD-BA5D-6A2926CE839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43950707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54368842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A2FD1A4-A199-6AB9-8D3B-4B42E10A0B3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Data fusion is critical for improving system reliability and accuracy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Various approaches cater to different application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Challenges like heterogeneity and scalability need further research.</a:t>
            </a:r>
          </a:p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A8209D-FC81-DFA6-71F6-99E32D4371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467D879-8D5B-918A-5642-D643952D00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78BDBA1-435A-994A-3521-63EC4B9AAC3D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Approaches For Sensor Data Fus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56575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A2FD1A4-A199-6AB9-8D3B-4B42E10A0B3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b="1" dirty="0">
                <a:solidFill>
                  <a:schemeClr val="tx1"/>
                </a:solidFill>
              </a:rPr>
              <a:t>[1]</a:t>
            </a:r>
            <a:r>
              <a:rPr lang="en-US" sz="2000" dirty="0">
                <a:solidFill>
                  <a:schemeClr val="tx1"/>
                </a:solidFill>
              </a:rPr>
              <a:t> Bosch Mobility, "Sensor Data Fusion Solutions," [Online]. Available: </a:t>
            </a:r>
            <a:r>
              <a:rPr lang="en-US" sz="2000" dirty="0">
                <a:solidFill>
                  <a:schemeClr val="tx1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bosch-mobility.com/en/solutions/sensors/sensor-data-fusion/</a:t>
            </a:r>
            <a:r>
              <a:rPr lang="en-US" sz="2000" dirty="0">
                <a:solidFill>
                  <a:schemeClr val="tx1"/>
                </a:solidFill>
              </a:rPr>
              <a:t>. [Accessed: 14-Dec-2024].</a:t>
            </a:r>
          </a:p>
          <a:p>
            <a:r>
              <a:rPr lang="en-US" sz="2000" dirty="0">
                <a:solidFill>
                  <a:schemeClr val="tx1"/>
                </a:solidFill>
              </a:rPr>
              <a:t>[2] Feature-level fusion based on multi-sensor data. [Online]. Available: https://</a:t>
            </a:r>
            <a:r>
              <a:rPr lang="en-US" sz="2000" dirty="0" err="1">
                <a:solidFill>
                  <a:schemeClr val="tx1"/>
                </a:solidFill>
              </a:rPr>
              <a:t>www.researchgate.net</a:t>
            </a:r>
            <a:r>
              <a:rPr lang="en-US" sz="2000" dirty="0">
                <a:solidFill>
                  <a:schemeClr val="tx1"/>
                </a:solidFill>
              </a:rPr>
              <a:t>/figure/Feature-level-fusion-based-on-31_fig2_325900553. [Accessed: 14-Dec-2024].</a:t>
            </a:r>
          </a:p>
          <a:p>
            <a:r>
              <a:rPr lang="en-US" b="1" dirty="0">
                <a:solidFill>
                  <a:schemeClr val="tx1"/>
                </a:solidFill>
              </a:rPr>
              <a:t>[3]</a:t>
            </a:r>
            <a:r>
              <a:rPr lang="en-US" dirty="0">
                <a:solidFill>
                  <a:schemeClr val="tx1"/>
                </a:solidFill>
              </a:rPr>
              <a:t> R. Groves, "</a:t>
            </a:r>
            <a:r>
              <a:rPr lang="en-US" dirty="0" err="1">
                <a:solidFill>
                  <a:schemeClr val="tx1"/>
                </a:solidFill>
              </a:rPr>
              <a:t>Multisensor</a:t>
            </a:r>
            <a:r>
              <a:rPr lang="en-US" dirty="0">
                <a:solidFill>
                  <a:schemeClr val="tx1"/>
                </a:solidFill>
              </a:rPr>
              <a:t> Data Fusion: Kalman Filter Summary," [Online]. Available: </a:t>
            </a:r>
            <a:r>
              <a:rPr lang="en-US" dirty="0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kalmanfilter.net/multiSummary.html</a:t>
            </a:r>
            <a:r>
              <a:rPr lang="en-US" dirty="0">
                <a:solidFill>
                  <a:schemeClr val="tx1"/>
                </a:solidFill>
              </a:rPr>
              <a:t>. [Accessed: 14-Dec-2024].</a:t>
            </a:r>
            <a:endParaRPr lang="en-US" sz="2000" dirty="0">
              <a:solidFill>
                <a:schemeClr val="tx1"/>
              </a:solidFill>
            </a:endParaRPr>
          </a:p>
          <a:p>
            <a:r>
              <a:rPr lang="en-US" sz="2000" dirty="0">
                <a:effectLst/>
                <a:latin typeface="NimbusRomNo9L"/>
              </a:rPr>
              <a:t>P. </a:t>
            </a:r>
            <a:r>
              <a:rPr lang="en-US" sz="2000" dirty="0" err="1">
                <a:effectLst/>
                <a:latin typeface="NimbusRomNo9L"/>
              </a:rPr>
              <a:t>Manjunatha</a:t>
            </a:r>
            <a:r>
              <a:rPr lang="en-US" sz="2000" dirty="0">
                <a:effectLst/>
                <a:latin typeface="NimbusRomNo9L"/>
              </a:rPr>
              <a:t>, A.K. Verma, and A. Srividya. Multi-sensor data fusion in cluster based wireless sensor networks using fuzzy logic method. In </a:t>
            </a:r>
            <a:r>
              <a:rPr lang="en-US" sz="2000" i="1" dirty="0">
                <a:effectLst/>
                <a:latin typeface="NimbusRomNo9L"/>
              </a:rPr>
              <a:t>2008 IEEE Region 10 and the Third international Conference on Industrial and Information Systems</a:t>
            </a:r>
            <a:r>
              <a:rPr lang="en-US" sz="2000" dirty="0">
                <a:effectLst/>
                <a:latin typeface="NimbusRomNo9L"/>
              </a:rPr>
              <a:t>, pages 1–6, 2008. </a:t>
            </a:r>
            <a:endParaRPr lang="en-US" sz="2000" dirty="0"/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A8209D-FC81-DFA6-71F6-99E32D4371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467D879-8D5B-918A-5642-D643952D00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78BDBA1-435A-994A-3521-63EC4B9AAC3D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Approaches For Sensor Data Fus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60918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EE5C8E4-9FE4-6150-1473-7E7EEF16C9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E0F3725D-37C8-59E4-12E7-0609BD07C8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31078"/>
            <a:ext cx="10132340" cy="709391"/>
          </a:xfrm>
        </p:spPr>
        <p:txBody>
          <a:bodyPr/>
          <a:lstStyle/>
          <a:p>
            <a:r>
              <a:rPr lang="en-GB" dirty="0"/>
              <a:t>Motivation and Overview</a:t>
            </a:r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877B8AA-48A1-2996-70F4-645BF3D21764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Approaches</a:t>
            </a:r>
            <a:r>
              <a:rPr lang="de-DE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for</a:t>
            </a:r>
            <a:r>
              <a:rPr lang="de-DE" dirty="0">
                <a:latin typeface="Times New Roman" panose="02020603050405020304" pitchFamily="18" charset="0"/>
                <a:cs typeface="Times New Roman" panose="02020603050405020304" pitchFamily="18" charset="0"/>
              </a:rPr>
              <a:t> Sensor Data Fusion</a:t>
            </a:r>
          </a:p>
          <a:p>
            <a:endParaRPr lang="de-D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3CC3EB7-0A70-6711-7E89-F45C503594B2}"/>
              </a:ext>
            </a:extLst>
          </p:cNvPr>
          <p:cNvSpPr txBox="1"/>
          <p:nvPr/>
        </p:nvSpPr>
        <p:spPr>
          <a:xfrm>
            <a:off x="838200" y="1961053"/>
            <a:ext cx="1056098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en-GB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Wingdings" pitchFamily="2" charset="2"/>
              <a:buChar char="§"/>
            </a:pP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What is Sensor Data Fusion?</a:t>
            </a:r>
          </a:p>
          <a:p>
            <a:pPr marL="342900" indent="-342900" algn="just">
              <a:buFont typeface="Wingdings" pitchFamily="2" charset="2"/>
              <a:buChar char="§"/>
            </a:pPr>
            <a:endParaRPr lang="en-GB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Wingdings" pitchFamily="2" charset="2"/>
              <a:buChar char="§"/>
            </a:pP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Various methods for sensor data fusion</a:t>
            </a:r>
          </a:p>
          <a:p>
            <a:pPr algn="just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Wingdings" pitchFamily="2" charset="2"/>
              <a:buChar char="§"/>
            </a:pP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Advantages and Challenges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Wingdings" pitchFamily="2" charset="2"/>
              <a:buChar char="§"/>
            </a:pP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Conclusion</a:t>
            </a:r>
            <a:endParaRPr lang="en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97865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6D59F34-083A-50B4-6F92-07572C89C0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hat is Sensor Data Fusion?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Integration of data from multiple sensor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Enhances accuracy and reliability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Supports real-time decision-making in dynamic </a:t>
            </a:r>
          </a:p>
          <a:p>
            <a:pPr marL="457200" lvl="1" indent="0">
              <a:buNone/>
            </a:pPr>
            <a:r>
              <a:rPr lang="en-US" dirty="0"/>
              <a:t>environments.</a:t>
            </a:r>
          </a:p>
          <a:p>
            <a:pPr marL="457200" lvl="1" indent="0">
              <a:buNone/>
            </a:pPr>
            <a:endParaRPr lang="en-US" dirty="0"/>
          </a:p>
          <a:p>
            <a:pPr marL="457200" lvl="1" indent="0">
              <a:buNone/>
            </a:pPr>
            <a:endParaRPr lang="en-US" dirty="0"/>
          </a:p>
          <a:p>
            <a:pPr marL="457200" lvl="1" indent="0">
              <a:buNone/>
            </a:pPr>
            <a:endParaRPr lang="en-US" dirty="0"/>
          </a:p>
          <a:p>
            <a:pPr marL="457200" lvl="1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BD3430F-ED7D-0E2C-1E09-5F3D51474F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208703-F076-4E8E-6D3C-6CE626D3F8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4949B1D-900F-CC10-3A43-BADFF9BE150D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Approaches for Sensor Data Fusion</a:t>
            </a:r>
          </a:p>
          <a:p>
            <a:endParaRPr lang="en-US" dirty="0"/>
          </a:p>
        </p:txBody>
      </p:sp>
      <p:pic>
        <p:nvPicPr>
          <p:cNvPr id="7" name="Picture 6" descr="A car with a sensor on the road&#10;&#10;Description automatically generated with medium confidence">
            <a:extLst>
              <a:ext uri="{FF2B5EF4-FFF2-40B4-BE49-F238E27FC236}">
                <a16:creationId xmlns:a16="http://schemas.microsoft.com/office/drawing/2014/main" id="{954BCB14-AAD2-9E0F-1CB0-90C8DC8A095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3673" y="1706698"/>
            <a:ext cx="4796246" cy="2699928"/>
          </a:xfrm>
          <a:prstGeom prst="rect">
            <a:avLst/>
          </a:prstGeom>
        </p:spPr>
      </p:pic>
      <p:sp>
        <p:nvSpPr>
          <p:cNvPr id="11" name="Footer Placeholder 8">
            <a:extLst>
              <a:ext uri="{FF2B5EF4-FFF2-40B4-BE49-F238E27FC236}">
                <a16:creationId xmlns:a16="http://schemas.microsoft.com/office/drawing/2014/main" id="{62AE14D9-1941-FF71-45CD-43D2F71D9F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84281"/>
            <a:ext cx="10958180" cy="396000"/>
          </a:xfrm>
        </p:spPr>
        <p:txBody>
          <a:bodyPr/>
          <a:lstStyle/>
          <a:p>
            <a:r>
              <a:rPr lang="en-US" sz="1200" b="1" dirty="0">
                <a:solidFill>
                  <a:schemeClr val="tx1"/>
                </a:solidFill>
              </a:rPr>
              <a:t>[1]</a:t>
            </a:r>
            <a:r>
              <a:rPr lang="en-US" sz="1200" dirty="0">
                <a:solidFill>
                  <a:schemeClr val="tx1"/>
                </a:solidFill>
              </a:rPr>
              <a:t> Bosch Mobility, "Sensor Data Fusion Solutions," [Online]. Available: </a:t>
            </a:r>
            <a:r>
              <a:rPr lang="en-US" sz="1200" dirty="0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bosch-mobility.com/en/solutions/sensors/sensor-data-fusion/</a:t>
            </a:r>
            <a:r>
              <a:rPr lang="en-US" sz="1200" dirty="0">
                <a:solidFill>
                  <a:schemeClr val="tx1"/>
                </a:solidFill>
              </a:rPr>
              <a:t>. [Accessed: 14-Dec-2024].</a:t>
            </a:r>
          </a:p>
        </p:txBody>
      </p:sp>
    </p:spTree>
    <p:extLst>
      <p:ext uri="{BB962C8B-B14F-4D97-AF65-F5344CB8AC3E}">
        <p14:creationId xmlns:p14="http://schemas.microsoft.com/office/powerpoint/2010/main" val="24590283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8A19463-94A0-5C8E-6B9F-463BB5DE07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95620" y="6384281"/>
            <a:ext cx="2579280" cy="396000"/>
          </a:xfrm>
        </p:spPr>
        <p:txBody>
          <a:bodyPr anchor="ctr">
            <a:norm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b="1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b="1" i="0" u="none" strike="noStrike" kern="1200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2BA3587-034A-8E6A-FF09-05D6052626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460" y="664647"/>
            <a:ext cx="10132340" cy="709391"/>
          </a:xfrm>
        </p:spPr>
        <p:txBody>
          <a:bodyPr anchor="ctr">
            <a:normAutofit/>
          </a:bodyPr>
          <a:lstStyle/>
          <a:p>
            <a:r>
              <a:rPr lang="en-US" dirty="0"/>
              <a:t>Importance and applications of Data Fusion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B4FB6DD-3E6C-B01E-312C-328230D0DD6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8200" y="472167"/>
            <a:ext cx="10134600" cy="504825"/>
          </a:xfrm>
        </p:spPr>
        <p:txBody>
          <a:bodyPr>
            <a:normAutofit/>
          </a:bodyPr>
          <a:lstStyle/>
          <a:p>
            <a:r>
              <a:rPr lang="en-US" dirty="0"/>
              <a:t>Approaches for Sensor Data Fusion</a:t>
            </a:r>
          </a:p>
          <a:p>
            <a:endParaRPr lang="en-US" dirty="0"/>
          </a:p>
        </p:txBody>
      </p:sp>
      <p:graphicFrame>
        <p:nvGraphicFramePr>
          <p:cNvPr id="9" name="Content Placeholder 1">
            <a:extLst>
              <a:ext uri="{FF2B5EF4-FFF2-40B4-BE49-F238E27FC236}">
                <a16:creationId xmlns:a16="http://schemas.microsoft.com/office/drawing/2014/main" id="{A384A3A9-39CF-313D-18A7-EDEEEDF64FD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27909618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5342559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2CE5B31-32DD-3758-CC1F-DC78D68F23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95620" y="6384281"/>
            <a:ext cx="2579280" cy="396000"/>
          </a:xfrm>
        </p:spPr>
        <p:txBody>
          <a:bodyPr anchor="ctr">
            <a:norm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b="1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b="1" i="0" u="none" strike="noStrike" kern="1200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2CFBD4F-616E-E091-C087-388DD3058B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460" y="664647"/>
            <a:ext cx="10132340" cy="709391"/>
          </a:xfrm>
        </p:spPr>
        <p:txBody>
          <a:bodyPr anchor="ctr">
            <a:normAutofit/>
          </a:bodyPr>
          <a:lstStyle/>
          <a:p>
            <a:r>
              <a:rPr lang="en-US" dirty="0"/>
              <a:t>Various Fusion Method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5F27BE9-E330-1EFD-D1E6-40900FDC773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8200" y="472167"/>
            <a:ext cx="10134600" cy="504825"/>
          </a:xfrm>
        </p:spPr>
        <p:txBody>
          <a:bodyPr>
            <a:normAutofit/>
          </a:bodyPr>
          <a:lstStyle/>
          <a:p>
            <a:r>
              <a:rPr lang="en-US" dirty="0"/>
              <a:t>Approaches For Sensor Data Fusion</a:t>
            </a:r>
          </a:p>
        </p:txBody>
      </p:sp>
      <p:graphicFrame>
        <p:nvGraphicFramePr>
          <p:cNvPr id="8" name="Content Placeholder 1">
            <a:extLst>
              <a:ext uri="{FF2B5EF4-FFF2-40B4-BE49-F238E27FC236}">
                <a16:creationId xmlns:a16="http://schemas.microsoft.com/office/drawing/2014/main" id="{5BD984E7-18C4-4218-D6BA-E49C813A35D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38020166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3937134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Content Placeholder 1">
            <a:extLst>
              <a:ext uri="{FF2B5EF4-FFF2-40B4-BE49-F238E27FC236}">
                <a16:creationId xmlns:a16="http://schemas.microsoft.com/office/drawing/2014/main" id="{F395BCDF-A828-4A4C-2CEE-C0AC885B427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55895183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2373F10-7961-BA53-2F66-DB9403822E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7E00A61-1490-E7AA-4884-649EE28059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-Level Fusion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CE32AB6-473D-775F-F84F-3DE9747A84B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Approaches For Sensor Data Fus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12217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ontent Placeholder 1">
            <a:extLst>
              <a:ext uri="{FF2B5EF4-FFF2-40B4-BE49-F238E27FC236}">
                <a16:creationId xmlns:a16="http://schemas.microsoft.com/office/drawing/2014/main" id="{2E116191-36B4-C1C5-796F-DEDBA89ED185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4FCEF5B-2067-8328-0175-57B4EE68DF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99B23FA-AE89-AA63-2265-F1D4541C17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-Level Fusion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F337F99-D9F4-FE60-9C6A-5E2895FC650F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Approaches For Sensor Data Fus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66696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AFEE3F-B096-72FF-B92D-51ADB8D24D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95620" y="6384281"/>
            <a:ext cx="2579280" cy="396000"/>
          </a:xfrm>
        </p:spPr>
        <p:txBody>
          <a:bodyPr anchor="ctr">
            <a:norm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b="1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b="1" i="0" u="none" strike="noStrike" kern="1200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74D9980-93C3-FB17-68E1-EFF08754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460" y="664647"/>
            <a:ext cx="10132340" cy="709391"/>
          </a:xfrm>
        </p:spPr>
        <p:txBody>
          <a:bodyPr anchor="ctr">
            <a:normAutofit/>
          </a:bodyPr>
          <a:lstStyle/>
          <a:p>
            <a:r>
              <a:rPr lang="en-US" dirty="0"/>
              <a:t>Feature-Level Fusion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B9AAA62-6255-7162-DC9B-5C7BA21BC92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8200" y="472167"/>
            <a:ext cx="10134600" cy="504825"/>
          </a:xfrm>
        </p:spPr>
        <p:txBody>
          <a:bodyPr>
            <a:normAutofit/>
          </a:bodyPr>
          <a:lstStyle/>
          <a:p>
            <a:r>
              <a:rPr lang="en-US" dirty="0"/>
              <a:t>Approaches For Sensor Data Fusion</a:t>
            </a:r>
          </a:p>
        </p:txBody>
      </p:sp>
      <p:pic>
        <p:nvPicPr>
          <p:cNvPr id="14" name="Content Placeholder 13" descr="A diagram of a process flow&#10;&#10;Description automatically generated">
            <a:extLst>
              <a:ext uri="{FF2B5EF4-FFF2-40B4-BE49-F238E27FC236}">
                <a16:creationId xmlns:a16="http://schemas.microsoft.com/office/drawing/2014/main" id="{1EFA7886-47C5-F8AE-0C55-57ADBD35245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4900" y="1637202"/>
            <a:ext cx="5613741" cy="4206014"/>
          </a:xfr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47C8807E-5232-0C64-2B07-167F3507DCB1}"/>
              </a:ext>
            </a:extLst>
          </p:cNvPr>
          <p:cNvSpPr txBox="1"/>
          <p:nvPr/>
        </p:nvSpPr>
        <p:spPr>
          <a:xfrm>
            <a:off x="1163020" y="6503426"/>
            <a:ext cx="11337707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050" dirty="0">
                <a:solidFill>
                  <a:schemeClr val="tx1"/>
                </a:solidFill>
              </a:rPr>
              <a:t>[2] Feature-level fusion based on multi-sensor data. [Online]. Available: https://</a:t>
            </a:r>
            <a:r>
              <a:rPr lang="en-US" sz="1050" dirty="0" err="1">
                <a:solidFill>
                  <a:schemeClr val="tx1"/>
                </a:solidFill>
              </a:rPr>
              <a:t>www.researchgate.net</a:t>
            </a:r>
            <a:r>
              <a:rPr lang="en-US" sz="1050" dirty="0">
                <a:solidFill>
                  <a:schemeClr val="tx1"/>
                </a:solidFill>
              </a:rPr>
              <a:t>/figure/Feature-level-fusion-based-on-31_fig2_325900553. [Accessed: 14-Dec-2024].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30C5B38-93FE-83DC-389B-C17B62F808C0}"/>
              </a:ext>
            </a:extLst>
          </p:cNvPr>
          <p:cNvSpPr/>
          <p:nvPr/>
        </p:nvSpPr>
        <p:spPr>
          <a:xfrm>
            <a:off x="1336234" y="1566518"/>
            <a:ext cx="1985554" cy="4174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91376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ontent Placeholder 1">
            <a:extLst>
              <a:ext uri="{FF2B5EF4-FFF2-40B4-BE49-F238E27FC236}">
                <a16:creationId xmlns:a16="http://schemas.microsoft.com/office/drawing/2014/main" id="{59050C16-DA3B-758C-83B1-0E97D344CD8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00852599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9AC461B-F38D-9501-9DE0-50DE9ABCD1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13C6C62-7058-CF7C-7DC9-96E5F54E8D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cision-Level Fusion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69A69E9-DD5C-9D14-7CA6-B7203305FCD2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Approaches For Sensor Data Fusion</a:t>
            </a:r>
          </a:p>
          <a:p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DBA47A0-115E-5271-397B-BC179B247C9F}"/>
              </a:ext>
            </a:extLst>
          </p:cNvPr>
          <p:cNvSpPr/>
          <p:nvPr/>
        </p:nvSpPr>
        <p:spPr>
          <a:xfrm>
            <a:off x="598714" y="4816248"/>
            <a:ext cx="10885715" cy="12845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Advantages: </a:t>
            </a:r>
            <a:r>
              <a:rPr lang="en-US" dirty="0">
                <a:solidFill>
                  <a:schemeClr val="tx1"/>
                </a:solidFill>
              </a:rPr>
              <a:t>Bandwidth efficiency, modularity</a:t>
            </a:r>
          </a:p>
          <a:p>
            <a:pPr algn="ctr"/>
            <a:r>
              <a:rPr lang="en-US" b="1" dirty="0">
                <a:solidFill>
                  <a:schemeClr val="tx1"/>
                </a:solidFill>
              </a:rPr>
              <a:t>                        Challenges: </a:t>
            </a:r>
            <a:r>
              <a:rPr lang="en-US" dirty="0">
                <a:solidFill>
                  <a:schemeClr val="tx1"/>
                </a:solidFill>
              </a:rPr>
              <a:t>Dependency on sensor quality, information loss.</a:t>
            </a:r>
          </a:p>
        </p:txBody>
      </p:sp>
    </p:spTree>
    <p:extLst>
      <p:ext uri="{BB962C8B-B14F-4D97-AF65-F5344CB8AC3E}">
        <p14:creationId xmlns:p14="http://schemas.microsoft.com/office/powerpoint/2010/main" val="41974294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DC2CCC8D-1625-446F-90C0-4629122B4DD4}" vid="{1BB9B128-420B-4197-BDDB-C5C68FFD6CA6}"/>
    </a:ext>
  </a:extLst>
</a:theme>
</file>

<file path=ppt/theme/theme2.xml><?xml version="1.0" encoding="utf-8"?>
<a:theme xmlns:a="http://schemas.openxmlformats.org/drawingml/2006/main" name="1_Strich link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hne Strich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2.potx" id="{A3411A10-55D1-43C2-B04C-3C5E8E7CFDE5}" vid="{E60593B4-911D-4758-8327-43937288FFED}"/>
    </a:ext>
  </a:extLst>
</a:theme>
</file>

<file path=ppt/theme/theme5.xml><?xml version="1.0" encoding="utf-8"?>
<a:theme xmlns:a="http://schemas.openxmlformats.org/drawingml/2006/main" name="1_Bildschirm">
  <a:themeElements>
    <a:clrScheme name="THI Farbschema">
      <a:dk1>
        <a:srgbClr val="005A9B"/>
      </a:dk1>
      <a:lt1>
        <a:sysClr val="window" lastClr="FFFFFF"/>
      </a:lt1>
      <a:dk2>
        <a:srgbClr val="000000"/>
      </a:dk2>
      <a:lt2>
        <a:srgbClr val="FFFFFF"/>
      </a:lt2>
      <a:accent1>
        <a:srgbClr val="005A9B"/>
      </a:accent1>
      <a:accent2>
        <a:srgbClr val="007382"/>
      </a:accent2>
      <a:accent3>
        <a:srgbClr val="009BCD"/>
      </a:accent3>
      <a:accent4>
        <a:srgbClr val="96BE00"/>
      </a:accent4>
      <a:accent5>
        <a:srgbClr val="009664"/>
      </a:accent5>
      <a:accent6>
        <a:srgbClr val="E6320F"/>
      </a:accent6>
      <a:hlink>
        <a:srgbClr val="005A9B"/>
      </a:hlink>
      <a:folHlink>
        <a:srgbClr val="009BCD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äsentation1" id="{DC2CCC8D-1625-446F-90C0-4629122B4DD4}" vid="{85D937B5-FC70-40A9-8B57-A5E32D18F27B}"/>
    </a:ext>
  </a:extLst>
</a:theme>
</file>

<file path=ppt/theme/theme6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28bcace8-4ce7-4949-868f-170f67122379}" enabled="0" method="" siteId="{28bcace8-4ce7-4949-868f-170f67122379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8110</TotalTime>
  <Words>864</Words>
  <Application>Microsoft Macintosh PowerPoint</Application>
  <PresentationFormat>Widescreen</PresentationFormat>
  <Paragraphs>142</Paragraphs>
  <Slides>17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30" baseType="lpstr">
      <vt:lpstr>Akzidenz-Grotesk Next Regular</vt:lpstr>
      <vt:lpstr>Arial</vt:lpstr>
      <vt:lpstr>Calibri</vt:lpstr>
      <vt:lpstr>NimbusRomNo9L</vt:lpstr>
      <vt:lpstr>Times New Roman</vt:lpstr>
      <vt:lpstr>TSTAR</vt:lpstr>
      <vt:lpstr>Wingdings</vt:lpstr>
      <vt:lpstr>1_Office</vt:lpstr>
      <vt:lpstr>1_Strich links</vt:lpstr>
      <vt:lpstr>2_ohne Strich</vt:lpstr>
      <vt:lpstr>3_Benutzerdefiniertes Design</vt:lpstr>
      <vt:lpstr>1_Bildschirm</vt:lpstr>
      <vt:lpstr>think-cell Folie</vt:lpstr>
      <vt:lpstr>PowerPoint Presentation</vt:lpstr>
      <vt:lpstr>Motivation and Overview</vt:lpstr>
      <vt:lpstr>Introduction</vt:lpstr>
      <vt:lpstr>Importance and applications of Data Fusion</vt:lpstr>
      <vt:lpstr>Various Fusion Methods</vt:lpstr>
      <vt:lpstr>Data-Level Fusion</vt:lpstr>
      <vt:lpstr>Feature-Level Fusion</vt:lpstr>
      <vt:lpstr>Feature-Level Fusion</vt:lpstr>
      <vt:lpstr>Decision-Level Fusion</vt:lpstr>
      <vt:lpstr>State Estimation and Kalman Filtering</vt:lpstr>
      <vt:lpstr>State Estimation and Kalman Filtering</vt:lpstr>
      <vt:lpstr>Bayesian Approaches</vt:lpstr>
      <vt:lpstr>Fuzzy logic </vt:lpstr>
      <vt:lpstr>Fuzzy logic </vt:lpstr>
      <vt:lpstr>Best Approach for Fusion</vt:lpstr>
      <vt:lpstr>Conclusion</vt:lpstr>
      <vt:lpstr>References</vt:lpstr>
    </vt:vector>
  </TitlesOfParts>
  <Company>Technische Hochschule Ingolstad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chl, Ann Katrin</dc:creator>
  <cp:lastModifiedBy>mdh4942</cp:lastModifiedBy>
  <cp:revision>286</cp:revision>
  <dcterms:created xsi:type="dcterms:W3CDTF">2024-01-11T16:28:37Z</dcterms:created>
  <dcterms:modified xsi:type="dcterms:W3CDTF">2024-12-15T14:57:51Z</dcterms:modified>
</cp:coreProperties>
</file>